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6" r:id="rId1"/>
  </p:sldMasterIdLst>
  <p:notesMasterIdLst>
    <p:notesMasterId r:id="rId8"/>
  </p:notesMasterIdLst>
  <p:handoutMasterIdLst>
    <p:handoutMasterId r:id="rId9"/>
  </p:handoutMasterIdLst>
  <p:sldIdLst>
    <p:sldId id="514" r:id="rId2"/>
    <p:sldId id="513" r:id="rId3"/>
    <p:sldId id="512" r:id="rId4"/>
    <p:sldId id="511" r:id="rId5"/>
    <p:sldId id="510" r:id="rId6"/>
    <p:sldId id="376" r:id="rId7"/>
  </p:sldIdLst>
  <p:sldSz cx="9144000" cy="6858000" type="screen4x3"/>
  <p:notesSz cx="6858000" cy="9144000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3784" userDrawn="1">
          <p15:clr>
            <a:srgbClr val="A4A3A4"/>
          </p15:clr>
        </p15:guide>
        <p15:guide id="4" orient="horz" pos="944" userDrawn="1">
          <p15:clr>
            <a:srgbClr val="A4A3A4"/>
          </p15:clr>
        </p15:guide>
        <p15:guide id="5" pos="414" userDrawn="1">
          <p15:clr>
            <a:srgbClr val="A4A3A4"/>
          </p15:clr>
        </p15:guide>
        <p15:guide id="6" pos="5459" userDrawn="1">
          <p15:clr>
            <a:srgbClr val="A4A3A4"/>
          </p15:clr>
        </p15:guide>
        <p15:guide id="7" pos="2963" userDrawn="1">
          <p15:clr>
            <a:srgbClr val="A4A3A4"/>
          </p15:clr>
        </p15:guide>
        <p15:guide id="8" orient="horz" pos="3264" userDrawn="1">
          <p15:clr>
            <a:srgbClr val="A4A3A4"/>
          </p15:clr>
        </p15:guide>
        <p15:guide id="9" orient="horz" pos="1253" userDrawn="1">
          <p15:clr>
            <a:srgbClr val="A4A3A4"/>
          </p15:clr>
        </p15:guide>
        <p15:guide id="10" pos="4464" userDrawn="1">
          <p15:clr>
            <a:srgbClr val="A4A3A4"/>
          </p15:clr>
        </p15:guide>
        <p15:guide id="11" pos="3401" userDrawn="1">
          <p15:clr>
            <a:srgbClr val="A4A3A4"/>
          </p15:clr>
        </p15:guide>
        <p15:guide id="12" pos="417" userDrawn="1">
          <p15:clr>
            <a:srgbClr val="A4A3A4"/>
          </p15:clr>
        </p15:guide>
        <p15:guide id="13" pos="591" userDrawn="1">
          <p15:clr>
            <a:srgbClr val="A4A3A4"/>
          </p15:clr>
        </p15:guide>
        <p15:guide id="14" pos="544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E64B00"/>
    <a:srgbClr val="FFDF7F"/>
    <a:srgbClr val="FFFFFF"/>
    <a:srgbClr val="FF9900"/>
    <a:srgbClr val="E7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374" autoAdjust="0"/>
    <p:restoredTop sz="95280" autoAdjust="0"/>
  </p:normalViewPr>
  <p:slideViewPr>
    <p:cSldViewPr snapToGrid="0" showGuides="1">
      <p:cViewPr varScale="1">
        <p:scale>
          <a:sx n="110" d="100"/>
          <a:sy n="110" d="100"/>
        </p:scale>
        <p:origin x="1830" y="114"/>
      </p:cViewPr>
      <p:guideLst>
        <p:guide orient="horz" pos="2160"/>
        <p:guide pos="2880"/>
        <p:guide orient="horz" pos="3784"/>
        <p:guide orient="horz" pos="944"/>
        <p:guide pos="414"/>
        <p:guide pos="5459"/>
        <p:guide pos="2963"/>
        <p:guide orient="horz" pos="3264"/>
        <p:guide orient="horz" pos="1253"/>
        <p:guide pos="4464"/>
        <p:guide pos="3401"/>
        <p:guide pos="417"/>
        <p:guide pos="591"/>
        <p:guide pos="5442"/>
      </p:guideLst>
    </p:cSldViewPr>
  </p:slideViewPr>
  <p:outlineViewPr>
    <p:cViewPr>
      <p:scale>
        <a:sx n="33" d="100"/>
        <a:sy n="33" d="100"/>
      </p:scale>
      <p:origin x="0" y="-25277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09/06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09/06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550" y="842963"/>
            <a:ext cx="4152900" cy="3114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273169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5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310334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kt 84" hidden="1">
            <a:extLst>
              <a:ext uri="{FF2B5EF4-FFF2-40B4-BE49-F238E27FC236}">
                <a16:creationId xmlns:a16="http://schemas.microsoft.com/office/drawing/2014/main" id="{53237C02-D8E7-4C9D-A9AB-C935D3E694FD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8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026" name="Objekt 84" hidden="1">
                        <a:extLst>
                          <a:ext uri="{FF2B5EF4-FFF2-40B4-BE49-F238E27FC236}">
                            <a16:creationId xmlns:a16="http://schemas.microsoft.com/office/drawing/2014/main" id="{53237C02-D8E7-4C9D-A9AB-C935D3E694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elplatzhalter 1">
            <a:extLst>
              <a:ext uri="{FF2B5EF4-FFF2-40B4-BE49-F238E27FC236}">
                <a16:creationId xmlns:a16="http://schemas.microsoft.com/office/drawing/2014/main" id="{A2235726-AE76-45F4-BE46-9738A32743CA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1028" name="Textplatzhalter 2">
            <a:extLst>
              <a:ext uri="{FF2B5EF4-FFF2-40B4-BE49-F238E27FC236}">
                <a16:creationId xmlns:a16="http://schemas.microsoft.com/office/drawing/2014/main" id="{6FE2309C-8D81-43C3-A085-42A0B3AF7D0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B63174A3-CFC9-46EE-9395-3D308967C173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9 June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6D3032E0-635E-4A3F-B457-330E5A29BDB0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D3B48D69-34C4-4A99-BF76-BDD6DBE56BEE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1031" name="Group 7">
            <a:extLst>
              <a:ext uri="{FF2B5EF4-FFF2-40B4-BE49-F238E27FC236}">
                <a16:creationId xmlns:a16="http://schemas.microsoft.com/office/drawing/2014/main" id="{6E1FE47B-AE08-4085-A66B-06C06BF268DB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1034" name="Freeform 8">
              <a:extLst>
                <a:ext uri="{FF2B5EF4-FFF2-40B4-BE49-F238E27FC236}">
                  <a16:creationId xmlns:a16="http://schemas.microsoft.com/office/drawing/2014/main" id="{7490D156-6ECB-4057-9C32-A935F6383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35" name="Freeform 9">
              <a:extLst>
                <a:ext uri="{FF2B5EF4-FFF2-40B4-BE49-F238E27FC236}">
                  <a16:creationId xmlns:a16="http://schemas.microsoft.com/office/drawing/2014/main" id="{953D35AA-C602-4B69-A604-A4CCBA65CB1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869841757 w 501"/>
                <a:gd name="T1" fmla="*/ 1659837019 h 429"/>
                <a:gd name="T2" fmla="*/ 1764144785 w 501"/>
                <a:gd name="T3" fmla="*/ 1521425573 h 429"/>
                <a:gd name="T4" fmla="*/ 1725057837 w 501"/>
                <a:gd name="T5" fmla="*/ 1469247882 h 429"/>
                <a:gd name="T6" fmla="*/ 1499934531 w 501"/>
                <a:gd name="T7" fmla="*/ 1361880031 h 429"/>
                <a:gd name="T8" fmla="*/ 1208442835 w 501"/>
                <a:gd name="T9" fmla="*/ 1659837019 h 429"/>
                <a:gd name="T10" fmla="*/ 1499934531 w 501"/>
                <a:gd name="T11" fmla="*/ 1951342137 h 429"/>
                <a:gd name="T12" fmla="*/ 1725057837 w 501"/>
                <a:gd name="T13" fmla="*/ 1845836989 h 429"/>
                <a:gd name="T14" fmla="*/ 1764144785 w 501"/>
                <a:gd name="T15" fmla="*/ 1792865048 h 429"/>
                <a:gd name="T16" fmla="*/ 1869841757 w 501"/>
                <a:gd name="T17" fmla="*/ 1659837019 h 429"/>
                <a:gd name="T18" fmla="*/ 844430463 w 501"/>
                <a:gd name="T19" fmla="*/ 1653081009 h 429"/>
                <a:gd name="T20" fmla="*/ 1499934531 w 501"/>
                <a:gd name="T21" fmla="*/ 995327786 h 429"/>
                <a:gd name="T22" fmla="*/ 2000652606 w 501"/>
                <a:gd name="T23" fmla="*/ 1229070891 h 429"/>
                <a:gd name="T24" fmla="*/ 2004353788 w 501"/>
                <a:gd name="T25" fmla="*/ 1240249847 h 429"/>
                <a:gd name="T26" fmla="*/ 2015706786 w 501"/>
                <a:gd name="T27" fmla="*/ 1235513344 h 429"/>
                <a:gd name="T28" fmla="*/ 1300958765 w 501"/>
                <a:gd name="T29" fmla="*/ 0 h 429"/>
                <a:gd name="T30" fmla="*/ 0 w 501"/>
                <a:gd name="T31" fmla="*/ 2147483646 h 429"/>
                <a:gd name="T32" fmla="*/ 1270102821 w 501"/>
                <a:gd name="T33" fmla="*/ 2147483646 h 429"/>
                <a:gd name="T34" fmla="*/ 1276833177 w 501"/>
                <a:gd name="T35" fmla="*/ 2147483646 h 429"/>
                <a:gd name="T36" fmla="*/ 1145170959 w 501"/>
                <a:gd name="T37" fmla="*/ 2147483646 h 429"/>
                <a:gd name="T38" fmla="*/ 844430463 w 501"/>
                <a:gd name="T39" fmla="*/ 1653081009 h 429"/>
                <a:gd name="T40" fmla="*/ 2147483646 w 501"/>
                <a:gd name="T41" fmla="*/ 2147483646 h 429"/>
                <a:gd name="T42" fmla="*/ 2147483646 w 501"/>
                <a:gd name="T43" fmla="*/ 2147483646 h 429"/>
                <a:gd name="T44" fmla="*/ 2107862744 w 501"/>
                <a:gd name="T45" fmla="*/ 1944597706 h 429"/>
                <a:gd name="T46" fmla="*/ 1978183592 w 501"/>
                <a:gd name="T47" fmla="*/ 2110879886 h 429"/>
                <a:gd name="T48" fmla="*/ 1733656531 w 501"/>
                <a:gd name="T49" fmla="*/ 2147483646 h 429"/>
                <a:gd name="T50" fmla="*/ 1733656531 w 501"/>
                <a:gd name="T51" fmla="*/ 2147483646 h 429"/>
                <a:gd name="T52" fmla="*/ 2147483646 w 501"/>
                <a:gd name="T53" fmla="*/ 2147483646 h 429"/>
                <a:gd name="T54" fmla="*/ 2147483646 w 501"/>
                <a:gd name="T55" fmla="*/ 2147483646 h 429"/>
                <a:gd name="T56" fmla="*/ 2147483646 w 501"/>
                <a:gd name="T57" fmla="*/ 2147483646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36" name="Freeform 10">
              <a:extLst>
                <a:ext uri="{FF2B5EF4-FFF2-40B4-BE49-F238E27FC236}">
                  <a16:creationId xmlns:a16="http://schemas.microsoft.com/office/drawing/2014/main" id="{BB852431-5053-4CB9-BD3B-B3CFC9A75F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01767805 w 937"/>
                <a:gd name="T1" fmla="*/ 711138951 h 326"/>
                <a:gd name="T2" fmla="*/ 410687662 w 937"/>
                <a:gd name="T3" fmla="*/ 465599188 h 326"/>
                <a:gd name="T4" fmla="*/ 658110446 w 937"/>
                <a:gd name="T5" fmla="*/ 276863184 h 326"/>
                <a:gd name="T6" fmla="*/ 978929204 w 937"/>
                <a:gd name="T7" fmla="*/ 522757726 h 326"/>
                <a:gd name="T8" fmla="*/ 1334169885 w 937"/>
                <a:gd name="T9" fmla="*/ 522757726 h 326"/>
                <a:gd name="T10" fmla="*/ 673981114 w 937"/>
                <a:gd name="T11" fmla="*/ 0 h 326"/>
                <a:gd name="T12" fmla="*/ 62385095 w 937"/>
                <a:gd name="T13" fmla="*/ 491791576 h 326"/>
                <a:gd name="T14" fmla="*/ 548530255 w 937"/>
                <a:gd name="T15" fmla="*/ 957093254 h 326"/>
                <a:gd name="T16" fmla="*/ 1037599821 w 937"/>
                <a:gd name="T17" fmla="*/ 1225687750 h 326"/>
                <a:gd name="T18" fmla="*/ 715650536 w 937"/>
                <a:gd name="T19" fmla="*/ 1429016220 h 326"/>
                <a:gd name="T20" fmla="*/ 352033256 w 937"/>
                <a:gd name="T21" fmla="*/ 1125932337 h 326"/>
                <a:gd name="T22" fmla="*/ 4728972 w 937"/>
                <a:gd name="T23" fmla="*/ 1125932337 h 326"/>
                <a:gd name="T24" fmla="*/ 707117927 w 937"/>
                <a:gd name="T25" fmla="*/ 1706716319 h 326"/>
                <a:gd name="T26" fmla="*/ 1384902835 w 937"/>
                <a:gd name="T27" fmla="*/ 1183118711 h 326"/>
                <a:gd name="T28" fmla="*/ 901767805 w 937"/>
                <a:gd name="T29" fmla="*/ 711138951 h 326"/>
                <a:gd name="T30" fmla="*/ 2147483646 w 937"/>
                <a:gd name="T31" fmla="*/ 634436110 h 326"/>
                <a:gd name="T32" fmla="*/ 2147483646 w 937"/>
                <a:gd name="T33" fmla="*/ 634436110 h 326"/>
                <a:gd name="T34" fmla="*/ 2147483646 w 937"/>
                <a:gd name="T35" fmla="*/ 454108485 h 326"/>
                <a:gd name="T36" fmla="*/ 1972169981 w 937"/>
                <a:gd name="T37" fmla="*/ 1067889945 h 326"/>
                <a:gd name="T38" fmla="*/ 2147483646 w 937"/>
                <a:gd name="T39" fmla="*/ 1702328018 h 326"/>
                <a:gd name="T40" fmla="*/ 2147483646 w 937"/>
                <a:gd name="T41" fmla="*/ 1518287469 h 326"/>
                <a:gd name="T42" fmla="*/ 2147483646 w 937"/>
                <a:gd name="T43" fmla="*/ 1518287469 h 326"/>
                <a:gd name="T44" fmla="*/ 2147483646 w 937"/>
                <a:gd name="T45" fmla="*/ 1669346971 h 326"/>
                <a:gd name="T46" fmla="*/ 2147483646 w 937"/>
                <a:gd name="T47" fmla="*/ 1669346971 h 326"/>
                <a:gd name="T48" fmla="*/ 2147483646 w 937"/>
                <a:gd name="T49" fmla="*/ 42033339 h 326"/>
                <a:gd name="T50" fmla="*/ 2147483646 w 937"/>
                <a:gd name="T51" fmla="*/ 42033339 h 326"/>
                <a:gd name="T52" fmla="*/ 2147483646 w 937"/>
                <a:gd name="T53" fmla="*/ 634436110 h 326"/>
                <a:gd name="T54" fmla="*/ 2147483646 w 937"/>
                <a:gd name="T55" fmla="*/ 1456419223 h 326"/>
                <a:gd name="T56" fmla="*/ 2147483646 w 937"/>
                <a:gd name="T57" fmla="*/ 1078984554 h 326"/>
                <a:gd name="T58" fmla="*/ 2147483646 w 937"/>
                <a:gd name="T59" fmla="*/ 702723735 h 326"/>
                <a:gd name="T60" fmla="*/ 2147483646 w 937"/>
                <a:gd name="T61" fmla="*/ 1072587526 h 326"/>
                <a:gd name="T62" fmla="*/ 2147483646 w 937"/>
                <a:gd name="T63" fmla="*/ 1456419223 h 326"/>
                <a:gd name="T64" fmla="*/ 2147483646 w 937"/>
                <a:gd name="T65" fmla="*/ 454108485 h 326"/>
                <a:gd name="T66" fmla="*/ 2147483646 w 937"/>
                <a:gd name="T67" fmla="*/ 1078984554 h 326"/>
                <a:gd name="T68" fmla="*/ 2147483646 w 937"/>
                <a:gd name="T69" fmla="*/ 1702328018 h 326"/>
                <a:gd name="T70" fmla="*/ 2147483646 w 937"/>
                <a:gd name="T71" fmla="*/ 1303534835 h 326"/>
                <a:gd name="T72" fmla="*/ 2147483646 w 937"/>
                <a:gd name="T73" fmla="*/ 1303534835 h 326"/>
                <a:gd name="T74" fmla="*/ 2147483646 w 937"/>
                <a:gd name="T75" fmla="*/ 1456419223 h 326"/>
                <a:gd name="T76" fmla="*/ 2147483646 w 937"/>
                <a:gd name="T77" fmla="*/ 1156886564 h 326"/>
                <a:gd name="T78" fmla="*/ 2147483646 w 937"/>
                <a:gd name="T79" fmla="*/ 1156886564 h 326"/>
                <a:gd name="T80" fmla="*/ 2147483646 w 937"/>
                <a:gd name="T81" fmla="*/ 454108485 h 326"/>
                <a:gd name="T82" fmla="*/ 2147483646 w 937"/>
                <a:gd name="T83" fmla="*/ 953533546 h 326"/>
                <a:gd name="T84" fmla="*/ 2147483646 w 937"/>
                <a:gd name="T85" fmla="*/ 702723735 h 326"/>
                <a:gd name="T86" fmla="*/ 2147483646 w 937"/>
                <a:gd name="T87" fmla="*/ 953533546 h 326"/>
                <a:gd name="T88" fmla="*/ 2147483646 w 937"/>
                <a:gd name="T89" fmla="*/ 953533546 h 326"/>
                <a:gd name="T90" fmla="*/ 2147483646 w 937"/>
                <a:gd name="T91" fmla="*/ 1669346971 h 326"/>
                <a:gd name="T92" fmla="*/ 2147483646 w 937"/>
                <a:gd name="T93" fmla="*/ 1669346971 h 326"/>
                <a:gd name="T94" fmla="*/ 2147483646 w 937"/>
                <a:gd name="T95" fmla="*/ 42033339 h 326"/>
                <a:gd name="T96" fmla="*/ 2147483646 w 937"/>
                <a:gd name="T97" fmla="*/ 42033339 h 326"/>
                <a:gd name="T98" fmla="*/ 2147483646 w 937"/>
                <a:gd name="T99" fmla="*/ 1669346971 h 326"/>
                <a:gd name="T100" fmla="*/ 1507507815 w 937"/>
                <a:gd name="T101" fmla="*/ 1669346971 h 326"/>
                <a:gd name="T102" fmla="*/ 1833453356 w 937"/>
                <a:gd name="T103" fmla="*/ 1669346971 h 326"/>
                <a:gd name="T104" fmla="*/ 1833453356 w 937"/>
                <a:gd name="T105" fmla="*/ 487782985 h 326"/>
                <a:gd name="T106" fmla="*/ 1507507815 w 937"/>
                <a:gd name="T107" fmla="*/ 487782985 h 326"/>
                <a:gd name="T108" fmla="*/ 1507507815 w 937"/>
                <a:gd name="T109" fmla="*/ 1669346971 h 326"/>
                <a:gd name="T110" fmla="*/ 1507507815 w 937"/>
                <a:gd name="T111" fmla="*/ 307968761 h 326"/>
                <a:gd name="T112" fmla="*/ 1833453356 w 937"/>
                <a:gd name="T113" fmla="*/ 307968761 h 326"/>
                <a:gd name="T114" fmla="*/ 1833453356 w 937"/>
                <a:gd name="T115" fmla="*/ 42033339 h 326"/>
                <a:gd name="T116" fmla="*/ 1507507815 w 937"/>
                <a:gd name="T117" fmla="*/ 42033339 h 326"/>
                <a:gd name="T118" fmla="*/ 1507507815 w 937"/>
                <a:gd name="T119" fmla="*/ 307968761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96D2574F-E91E-46FE-B42D-B5DDB55C877C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E75EFCC3-3A40-4159-8123-C21E171D07E3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396373949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9" r:id="rId1"/>
    <p:sldLayoutId id="2147483680" r:id="rId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3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3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3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3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8.bin"/><Relationship Id="rId9" Type="http://schemas.openxmlformats.org/officeDocument/2006/relationships/image" Target="../media/image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D2C3BEF5-9E63-4097-B997-2AD677F9666F}"/>
              </a:ext>
            </a:extLst>
          </p:cNvPr>
          <p:cNvSpPr/>
          <p:nvPr/>
        </p:nvSpPr>
        <p:spPr>
          <a:xfrm>
            <a:off x="933061" y="4419355"/>
            <a:ext cx="3032808" cy="8184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2000" dirty="0" err="1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B538465-0799-4D12-AE6F-A518788560A7}"/>
              </a:ext>
            </a:extLst>
          </p:cNvPr>
          <p:cNvSpPr/>
          <p:nvPr/>
        </p:nvSpPr>
        <p:spPr>
          <a:xfrm>
            <a:off x="933061" y="4419355"/>
            <a:ext cx="3032808" cy="805788"/>
          </a:xfrm>
          <a:prstGeom prst="rect">
            <a:avLst/>
          </a:prstGeom>
          <a:solidFill>
            <a:schemeClr val="bg2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2000" dirty="0" err="1"/>
          </a:p>
        </p:txBody>
      </p:sp>
      <p:grpSp>
        <p:nvGrpSpPr>
          <p:cNvPr id="20" name="Group 2"/>
          <p:cNvGrpSpPr>
            <a:grpSpLocks/>
          </p:cNvGrpSpPr>
          <p:nvPr/>
        </p:nvGrpSpPr>
        <p:grpSpPr bwMode="auto">
          <a:xfrm>
            <a:off x="661988" y="1719351"/>
            <a:ext cx="7991475" cy="4041776"/>
            <a:chOff x="650875" y="1906524"/>
            <a:chExt cx="7991475" cy="4042232"/>
          </a:xfrm>
        </p:grpSpPr>
        <p:sp>
          <p:nvSpPr>
            <p:cNvPr id="21" name="Rechteck 3"/>
            <p:cNvSpPr/>
            <p:nvPr/>
          </p:nvSpPr>
          <p:spPr>
            <a:xfrm>
              <a:off x="650875" y="1906525"/>
              <a:ext cx="3889375" cy="37628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UE AND BENEFITS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de-CH" altLang="de-DE" sz="1400" b="1" i="0" u="none" strike="noStrike" kern="1200" cap="none" spc="0" normalizeH="0" baseline="0" noProof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DESCRIPTION</a:t>
              </a:r>
              <a:endParaRPr kumimoji="0" lang="en-GB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4" name="Rechteck 12"/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8188390" cy="461665"/>
          </a:xfrm>
        </p:spPr>
        <p:txBody>
          <a:bodyPr/>
          <a:lstStyle/>
          <a:p>
            <a:r>
              <a:rPr lang="fr-FR" altLang="fr-FR" dirty="0"/>
              <a:t>Secure </a:t>
            </a:r>
            <a:r>
              <a:rPr lang="fr-FR" altLang="fr-FR" dirty="0" err="1"/>
              <a:t>your</a:t>
            </a:r>
            <a:r>
              <a:rPr lang="fr-FR" altLang="fr-FR" dirty="0"/>
              <a:t> </a:t>
            </a:r>
            <a:r>
              <a:rPr lang="fr-FR" altLang="fr-FR" dirty="0" err="1"/>
              <a:t>product</a:t>
            </a:r>
            <a:r>
              <a:rPr lang="fr-FR" altLang="fr-FR" dirty="0"/>
              <a:t> </a:t>
            </a:r>
            <a:r>
              <a:rPr lang="fr-FR" altLang="fr-FR" dirty="0" err="1"/>
              <a:t>quality</a:t>
            </a:r>
            <a:r>
              <a:rPr lang="fr-FR" altLang="fr-FR" dirty="0"/>
              <a:t> and </a:t>
            </a:r>
            <a:r>
              <a:rPr lang="fr-FR" altLang="fr-FR" dirty="0" err="1"/>
              <a:t>reduce</a:t>
            </a:r>
            <a:r>
              <a:rPr lang="fr-FR" altLang="fr-FR" dirty="0"/>
              <a:t> TCO</a:t>
            </a:r>
            <a:endParaRPr 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61988" y="1395455"/>
            <a:ext cx="7997825" cy="307975"/>
          </a:xfrm>
        </p:spPr>
        <p:txBody>
          <a:bodyPr/>
          <a:lstStyle/>
          <a:p>
            <a:r>
              <a:rPr lang="fr-FR" altLang="fr-FR" dirty="0"/>
              <a:t>Mini-Blue</a:t>
            </a:r>
            <a:r>
              <a:rPr lang="fr-FR" altLang="fr-FR" baseline="30000" dirty="0"/>
              <a:t>®</a:t>
            </a:r>
            <a:r>
              <a:rPr lang="fr-FR" altLang="fr-FR" dirty="0"/>
              <a:t> Pack </a:t>
            </a:r>
            <a:r>
              <a:rPr lang="en-GB" dirty="0"/>
              <a:t>glue gun</a:t>
            </a:r>
            <a:endParaRPr lang="en-US" dirty="0"/>
          </a:p>
          <a:p>
            <a:pPr eaLnBrk="1" hangingPunct="1"/>
            <a:endParaRPr lang="fr-FR" altLang="fr-FR" dirty="0"/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57542" y="5880280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fontAlgn="base">
              <a:spcAft>
                <a:spcPct val="0"/>
              </a:spcAft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alue: Sustainability</a:t>
            </a:r>
            <a:r>
              <a:rPr lang="en-GB" altLang="fr-FR" sz="800" dirty="0">
                <a:solidFill>
                  <a:srgbClr val="000000"/>
                </a:solidFill>
              </a:rPr>
              <a:t>, Cost optimization, Safety &amp; </a:t>
            </a:r>
            <a:r>
              <a:rPr lang="en-GB" altLang="fr-FR" sz="800" dirty="0" err="1">
                <a:solidFill>
                  <a:srgbClr val="000000"/>
                </a:solidFill>
              </a:rPr>
              <a:t>Ergonomy</a:t>
            </a:r>
            <a:r>
              <a:rPr lang="en-GB" altLang="fr-FR" sz="800" dirty="0">
                <a:solidFill>
                  <a:srgbClr val="000000"/>
                </a:solidFill>
              </a:rPr>
              <a:t>, Product quality</a:t>
            </a:r>
            <a:endParaRPr kumimoji="0" lang="en-GB" alt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lvl="0" fontAlgn="base">
              <a:spcAft>
                <a:spcPct val="0"/>
              </a:spcAft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ment: </a:t>
            </a:r>
            <a:r>
              <a:rPr lang="en-GB" altLang="fr-FR" sz="800" dirty="0">
                <a:solidFill>
                  <a:srgbClr val="000000"/>
                </a:solidFill>
              </a:rPr>
              <a:t>All Packing machines equipped with Classic™ and Solid-Blue® glue guns</a:t>
            </a:r>
            <a:endParaRPr kumimoji="0" lang="en-GB" alt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atalogue code: CLC-023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57542" y="2131120"/>
            <a:ext cx="3890963" cy="29731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200" dirty="0">
                <a:solidFill>
                  <a:srgbClr val="000000"/>
                </a:solidFill>
              </a:rPr>
              <a:t>Longer durability (2 or 3 times higher than the other pneumatic models)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200" dirty="0">
                <a:solidFill>
                  <a:srgbClr val="000000"/>
                </a:solidFill>
              </a:rPr>
              <a:t>Gun more precise than the classical guns, which means a reduction of 40% in glue consumption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200" dirty="0">
                <a:solidFill>
                  <a:srgbClr val="000000"/>
                </a:solidFill>
              </a:rPr>
              <a:t>Reduction of 16% in the power consumption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200" dirty="0">
                <a:solidFill>
                  <a:srgbClr val="000000"/>
                </a:solidFill>
              </a:rPr>
              <a:t>Reduced adhesive stringing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200" dirty="0">
                <a:solidFill>
                  <a:srgbClr val="000000"/>
                </a:solidFill>
              </a:rPr>
              <a:t>Gun equipped with an insulating shell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200" dirty="0">
                <a:solidFill>
                  <a:srgbClr val="000000"/>
                </a:solidFill>
              </a:rPr>
              <a:t>Reduction in burning risks (80° maxi) and loss through radiation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200" dirty="0">
                <a:solidFill>
                  <a:srgbClr val="000000"/>
                </a:solidFill>
              </a:rPr>
              <a:t>Useable with all hot-melt glue types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200" dirty="0">
                <a:solidFill>
                  <a:srgbClr val="000000"/>
                </a:solidFill>
              </a:rPr>
              <a:t>Connection on the current pipe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64088" y="2108290"/>
            <a:ext cx="3889375" cy="9971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200" dirty="0">
                <a:solidFill>
                  <a:srgbClr val="000000"/>
                </a:solidFill>
              </a:rPr>
              <a:t>Compact hot melt dispensing gun</a:t>
            </a:r>
          </a:p>
          <a:p>
            <a:pPr marL="182563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200" dirty="0">
                <a:solidFill>
                  <a:srgbClr val="000000"/>
                </a:solidFill>
              </a:rPr>
              <a:t>The Mini-blue® guns uses the latest pneumatic technologies applied to glue guns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pic>
        <p:nvPicPr>
          <p:cNvPr id="46102" name="Picture 22" descr="https://azcscxpprodcdn.azureedge.net/-/media/Images/Nordson/adhesive-dispensing-systems/Products/Applicators-Guns/MiniBlueII.jpg?h=200&amp;w=250&amp;la=fr-FR&amp;hash=CB6AA947B7444A47C8D18B783104C5A1">
            <a:extLst>
              <a:ext uri="{FF2B5EF4-FFF2-40B4-BE49-F238E27FC236}">
                <a16:creationId xmlns:a16="http://schemas.microsoft.com/office/drawing/2014/main" id="{64311A46-552E-48EC-96CF-510C354A342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208" t="8415" r="27423" b="9953"/>
          <a:stretch/>
        </p:blipFill>
        <p:spPr bwMode="auto">
          <a:xfrm>
            <a:off x="7223443" y="3584543"/>
            <a:ext cx="1417320" cy="20860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6">
            <a:extLst>
              <a:ext uri="{FF2B5EF4-FFF2-40B4-BE49-F238E27FC236}">
                <a16:creationId xmlns:a16="http://schemas.microsoft.com/office/drawing/2014/main" id="{B8BDEE0D-124C-440C-BCAF-B1A14F1F849F}"/>
              </a:ext>
            </a:extLst>
          </p:cNvPr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0453" y="3962311"/>
            <a:ext cx="1769427" cy="156679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2A892FFF-A3D9-4621-B92B-8A18456943A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195254" y="3273745"/>
            <a:ext cx="891617" cy="358171"/>
          </a:xfrm>
          <a:prstGeom prst="rect">
            <a:avLst/>
          </a:prstGeom>
        </p:spPr>
      </p:pic>
      <p:pic>
        <p:nvPicPr>
          <p:cNvPr id="26" name="Image 25">
            <a:extLst>
              <a:ext uri="{FF2B5EF4-FFF2-40B4-BE49-F238E27FC236}">
                <a16:creationId xmlns:a16="http://schemas.microsoft.com/office/drawing/2014/main" id="{905BBBB6-4BB5-464E-AD90-E52C6B1A391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412567" y="3250855"/>
            <a:ext cx="823031" cy="342930"/>
          </a:xfrm>
          <a:prstGeom prst="rect">
            <a:avLst/>
          </a:prstGeom>
        </p:spPr>
      </p:pic>
      <p:pic>
        <p:nvPicPr>
          <p:cNvPr id="28" name="Image 27">
            <a:extLst>
              <a:ext uri="{FF2B5EF4-FFF2-40B4-BE49-F238E27FC236}">
                <a16:creationId xmlns:a16="http://schemas.microsoft.com/office/drawing/2014/main" id="{4C4AFF6E-49E3-497D-B24D-65CA12786FF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7009" y="829854"/>
            <a:ext cx="785607" cy="790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21258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1">
            <a:extLst>
              <a:ext uri="{FF2B5EF4-FFF2-40B4-BE49-F238E27FC236}">
                <a16:creationId xmlns:a16="http://schemas.microsoft.com/office/drawing/2014/main" id="{108398AB-264B-4F00-A765-25298D7F5BCB}"/>
              </a:ext>
            </a:extLst>
          </p:cNvPr>
          <p:cNvGrpSpPr>
            <a:grpSpLocks/>
          </p:cNvGrpSpPr>
          <p:nvPr/>
        </p:nvGrpSpPr>
        <p:grpSpPr bwMode="auto">
          <a:xfrm>
            <a:off x="654050" y="1779588"/>
            <a:ext cx="7991475" cy="4055155"/>
            <a:chOff x="647700" y="1908175"/>
            <a:chExt cx="7991475" cy="3938588"/>
          </a:xfrm>
        </p:grpSpPr>
        <p:sp>
          <p:nvSpPr>
            <p:cNvPr id="26" name="Rechteck 3">
              <a:extLst>
                <a:ext uri="{FF2B5EF4-FFF2-40B4-BE49-F238E27FC236}">
                  <a16:creationId xmlns:a16="http://schemas.microsoft.com/office/drawing/2014/main" id="{C2E49416-2DE8-4D1B-AE0B-397E831D1426}"/>
                </a:ext>
              </a:extLst>
            </p:cNvPr>
            <p:cNvSpPr/>
            <p:nvPr/>
          </p:nvSpPr>
          <p:spPr>
            <a:xfrm>
              <a:off x="647700" y="1908175"/>
              <a:ext cx="3889375" cy="40005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en-GB" sz="1400" b="1" dirty="0">
                  <a:solidFill>
                    <a:srgbClr val="FFFFFF"/>
                  </a:solidFill>
                </a:rPr>
                <a:t>VALEUR ET AVANTAGES</a:t>
              </a:r>
              <a:endParaRPr lang="fr-FR" sz="1400" b="1" dirty="0">
                <a:solidFill>
                  <a:srgbClr val="FFFFFF"/>
                </a:solidFill>
                <a:ea typeface="MS PGothic" pitchFamily="34" charset="-128"/>
              </a:endParaRPr>
            </a:p>
          </p:txBody>
        </p:sp>
        <p:sp>
          <p:nvSpPr>
            <p:cNvPr id="27" name="Rechteck 4">
              <a:extLst>
                <a:ext uri="{FF2B5EF4-FFF2-40B4-BE49-F238E27FC236}">
                  <a16:creationId xmlns:a16="http://schemas.microsoft.com/office/drawing/2014/main" id="{EF5FA875-E6A5-46BA-BA64-FAF6CF5BFFD8}"/>
                </a:ext>
              </a:extLst>
            </p:cNvPr>
            <p:cNvSpPr>
              <a:spLocks/>
            </p:cNvSpPr>
            <p:nvPr/>
          </p:nvSpPr>
          <p:spPr>
            <a:xfrm>
              <a:off x="647700" y="2308225"/>
              <a:ext cx="3889375" cy="353853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indent="-182563" eaLnBrk="1" hangingPunct="1">
                <a:spcBef>
                  <a:spcPct val="45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x-none" sz="1050" dirty="0">
                <a:solidFill>
                  <a:srgbClr val="000000"/>
                </a:solidFill>
              </a:endParaRPr>
            </a:p>
          </p:txBody>
        </p:sp>
        <p:sp>
          <p:nvSpPr>
            <p:cNvPr id="28" name="Rechteck 11">
              <a:extLst>
                <a:ext uri="{FF2B5EF4-FFF2-40B4-BE49-F238E27FC236}">
                  <a16:creationId xmlns:a16="http://schemas.microsoft.com/office/drawing/2014/main" id="{5EE8EE76-8218-4370-82A9-B049E9890DF1}"/>
                </a:ext>
              </a:extLst>
            </p:cNvPr>
            <p:cNvSpPr/>
            <p:nvPr/>
          </p:nvSpPr>
          <p:spPr>
            <a:xfrm>
              <a:off x="4749800" y="1908175"/>
              <a:ext cx="3889375" cy="40005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 eaLnBrk="1" hangingPunct="1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de-CH" altLang="fr-FR" sz="14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DESCRIPTION</a:t>
              </a:r>
            </a:p>
          </p:txBody>
        </p:sp>
        <p:sp>
          <p:nvSpPr>
            <p:cNvPr id="29" name="Rechteck 12">
              <a:extLst>
                <a:ext uri="{FF2B5EF4-FFF2-40B4-BE49-F238E27FC236}">
                  <a16:creationId xmlns:a16="http://schemas.microsoft.com/office/drawing/2014/main" id="{EE359A63-2C51-4631-950C-1748AC6C9D3F}"/>
                </a:ext>
              </a:extLst>
            </p:cNvPr>
            <p:cNvSpPr>
              <a:spLocks/>
            </p:cNvSpPr>
            <p:nvPr/>
          </p:nvSpPr>
          <p:spPr>
            <a:xfrm>
              <a:off x="4749800" y="2305050"/>
              <a:ext cx="3889375" cy="35417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lvl="1" indent="-182563" eaLnBrk="1" hangingPunct="1">
                <a:spcBef>
                  <a:spcPts val="300"/>
                </a:spcBef>
                <a:buClr>
                  <a:srgbClr val="E64B00"/>
                </a:buClr>
                <a:buSzPct val="100000"/>
                <a:buFont typeface="Wingdings" charset="2"/>
                <a:buChar char="§"/>
                <a:tabLst>
                  <a:tab pos="2974975" algn="l"/>
                  <a:tab pos="3151188" algn="l"/>
                </a:tabLst>
                <a:defRPr/>
              </a:pPr>
              <a:endParaRPr lang="en-US" altLang="x-none" sz="1050" dirty="0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293235"/>
            <a:ext cx="8199120" cy="923330"/>
          </a:xfrm>
        </p:spPr>
        <p:txBody>
          <a:bodyPr/>
          <a:lstStyle/>
          <a:p>
            <a:r>
              <a:rPr lang="fr-FR" dirty="0"/>
              <a:t>Sécurisez la qualité de vos produits et réduisez le TCO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68447" y="1469978"/>
            <a:ext cx="7997825" cy="307975"/>
          </a:xfrm>
        </p:spPr>
        <p:txBody>
          <a:bodyPr/>
          <a:lstStyle/>
          <a:p>
            <a:r>
              <a:rPr lang="fr-FR" dirty="0"/>
              <a:t>Pistolet à colle Mini-Blue® Pack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4937" y="2188209"/>
            <a:ext cx="3866263" cy="27499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100" dirty="0">
                <a:solidFill>
                  <a:srgbClr val="000000"/>
                </a:solidFill>
              </a:rPr>
              <a:t>Durabilité plus longue (2 ou 3 fois supérieure aux autres modèles pneumatiques).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100" dirty="0">
                <a:solidFill>
                  <a:srgbClr val="000000"/>
                </a:solidFill>
              </a:rPr>
              <a:t>Pistolet plus précis que les pistolets classiques, ce qui signifie une réduction de 40% de la consommation de colle.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100" dirty="0">
                <a:solidFill>
                  <a:srgbClr val="000000"/>
                </a:solidFill>
              </a:rPr>
              <a:t>Réduction de 16% de la consommation électrique.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100" dirty="0">
                <a:solidFill>
                  <a:srgbClr val="000000"/>
                </a:solidFill>
              </a:rPr>
              <a:t>Cordon adhésif réduit.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100" dirty="0">
                <a:solidFill>
                  <a:srgbClr val="000000"/>
                </a:solidFill>
              </a:rPr>
              <a:t>Pistolet équipé d'une coque isolante.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100" dirty="0">
                <a:solidFill>
                  <a:srgbClr val="000000"/>
                </a:solidFill>
              </a:rPr>
              <a:t>Réduction des risques de brûlure (80° maxi) et de perte par rayonnement.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100" dirty="0">
                <a:solidFill>
                  <a:srgbClr val="000000"/>
                </a:solidFill>
              </a:rPr>
              <a:t>Utilisable avec tous les types de colles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100" dirty="0">
                <a:solidFill>
                  <a:srgbClr val="000000"/>
                </a:solidFill>
              </a:rPr>
              <a:t>Raccordement sur le circuit colle actue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26269" y="2176463"/>
            <a:ext cx="3910143" cy="7950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lvl="1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fr-FR" sz="1100" dirty="0">
                <a:solidFill>
                  <a:srgbClr val="000000"/>
                </a:solidFill>
              </a:rPr>
              <a:t>Pistolet de distribution compact pour colles</a:t>
            </a:r>
          </a:p>
          <a:p>
            <a:pPr marL="136922" lvl="1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fr-FR" sz="1100" dirty="0">
                <a:solidFill>
                  <a:srgbClr val="000000"/>
                </a:solidFill>
              </a:rPr>
              <a:t>Les pistolets Mini-</a:t>
            </a:r>
            <a:r>
              <a:rPr lang="fr-FR" sz="1100" dirty="0" err="1">
                <a:solidFill>
                  <a:srgbClr val="000000"/>
                </a:solidFill>
              </a:rPr>
              <a:t>blue</a:t>
            </a:r>
            <a:r>
              <a:rPr lang="fr-FR" sz="1100" dirty="0">
                <a:solidFill>
                  <a:srgbClr val="000000"/>
                </a:solidFill>
              </a:rPr>
              <a:t>® utilisent les dernières technologies pneumatiques appliquées aux pistolets à colle.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A83AC377-0188-413C-936E-E74C8CBE01B5}"/>
              </a:ext>
            </a:extLst>
          </p:cNvPr>
          <p:cNvSpPr txBox="1">
            <a:spLocks/>
          </p:cNvSpPr>
          <p:nvPr/>
        </p:nvSpPr>
        <p:spPr bwMode="auto">
          <a:xfrm>
            <a:off x="668447" y="5901302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aleur : </a:t>
            </a:r>
            <a:r>
              <a:rPr lang="fr-FR" sz="800" kern="0" dirty="0">
                <a:solidFill>
                  <a:srgbClr val="000000"/>
                </a:solidFill>
              </a:rPr>
              <a:t>Développement durable</a:t>
            </a:r>
            <a:r>
              <a:rPr lang="fr-FR" sz="800" dirty="0">
                <a:solidFill>
                  <a:srgbClr val="000000"/>
                </a:solidFill>
              </a:rPr>
              <a:t>, O</a:t>
            </a:r>
            <a:r>
              <a:rPr lang="en-US" sz="800" dirty="0" err="1">
                <a:solidFill>
                  <a:srgbClr val="000000"/>
                </a:solidFill>
              </a:rPr>
              <a:t>ptimisation</a:t>
            </a:r>
            <a:r>
              <a:rPr lang="en-US" sz="800" dirty="0">
                <a:solidFill>
                  <a:srgbClr val="000000"/>
                </a:solidFill>
              </a:rPr>
              <a:t> des </a:t>
            </a:r>
            <a:r>
              <a:rPr lang="en-US" sz="800" dirty="0" err="1">
                <a:solidFill>
                  <a:srgbClr val="000000"/>
                </a:solidFill>
              </a:rPr>
              <a:t>coûts</a:t>
            </a:r>
            <a:r>
              <a:rPr lang="en-US" sz="800" dirty="0">
                <a:solidFill>
                  <a:srgbClr val="000000"/>
                </a:solidFill>
              </a:rPr>
              <a:t>, </a:t>
            </a:r>
            <a:r>
              <a:rPr lang="fr-FR" sz="800" kern="0" dirty="0">
                <a:solidFill>
                  <a:srgbClr val="000000"/>
                </a:solidFill>
              </a:rPr>
              <a:t>Sécurité et ergonomie, </a:t>
            </a:r>
            <a:r>
              <a:rPr lang="en-GB" altLang="fr-FR" sz="800" dirty="0" err="1">
                <a:solidFill>
                  <a:srgbClr val="000000"/>
                </a:solidFill>
              </a:rPr>
              <a:t>Qualité</a:t>
            </a:r>
            <a:r>
              <a:rPr lang="en-GB" altLang="fr-FR" sz="800" dirty="0">
                <a:solidFill>
                  <a:srgbClr val="000000"/>
                </a:solidFill>
              </a:rPr>
              <a:t> du </a:t>
            </a:r>
            <a:r>
              <a:rPr lang="en-GB" altLang="fr-FR" sz="800" dirty="0" err="1">
                <a:solidFill>
                  <a:srgbClr val="000000"/>
                </a:solidFill>
              </a:rPr>
              <a:t>produit</a:t>
            </a:r>
            <a:r>
              <a:rPr lang="fr-FR" sz="800" dirty="0">
                <a:solidFill>
                  <a:srgbClr val="000000"/>
                </a:solidFill>
              </a:rPr>
              <a:t> </a:t>
            </a:r>
            <a:endParaRPr kumimoji="0" 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lvl="0">
              <a:defRPr/>
            </a:pP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Équipements : </a:t>
            </a:r>
            <a:r>
              <a:rPr lang="fr-FR" sz="800" kern="0" dirty="0"/>
              <a:t>Toutes les machines d'emballage équipées de pistolets à colle </a:t>
            </a:r>
            <a:r>
              <a:rPr lang="fr-FR" sz="800" kern="0" dirty="0" err="1"/>
              <a:t>Classic</a:t>
            </a:r>
            <a:r>
              <a:rPr lang="fr-FR" sz="800" kern="0" dirty="0"/>
              <a:t>™ et Solid-Blue®</a:t>
            </a:r>
            <a:endParaRPr kumimoji="0" 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de catalogue : CLC-023</a:t>
            </a:r>
          </a:p>
        </p:txBody>
      </p:sp>
      <p:pic>
        <p:nvPicPr>
          <p:cNvPr id="17" name="Picture 26">
            <a:extLst>
              <a:ext uri="{FF2B5EF4-FFF2-40B4-BE49-F238E27FC236}">
                <a16:creationId xmlns:a16="http://schemas.microsoft.com/office/drawing/2014/main" id="{468B5736-9606-4EA7-A5B1-4C20ADA1AA4D}"/>
              </a:ext>
            </a:extLst>
          </p:cNvPr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0453" y="3962311"/>
            <a:ext cx="1769427" cy="156679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pic>
      <p:pic>
        <p:nvPicPr>
          <p:cNvPr id="18" name="Image 18">
            <a:extLst>
              <a:ext uri="{FF2B5EF4-FFF2-40B4-BE49-F238E27FC236}">
                <a16:creationId xmlns:a16="http://schemas.microsoft.com/office/drawing/2014/main" id="{94D86FE9-906A-421B-94BB-935EE4B962F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95254" y="3273745"/>
            <a:ext cx="891617" cy="358171"/>
          </a:xfrm>
          <a:prstGeom prst="rect">
            <a:avLst/>
          </a:prstGeom>
        </p:spPr>
      </p:pic>
      <p:pic>
        <p:nvPicPr>
          <p:cNvPr id="19" name="Image 25">
            <a:extLst>
              <a:ext uri="{FF2B5EF4-FFF2-40B4-BE49-F238E27FC236}">
                <a16:creationId xmlns:a16="http://schemas.microsoft.com/office/drawing/2014/main" id="{C93DD756-72DA-4217-88A9-63D17950359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412567" y="3250855"/>
            <a:ext cx="823031" cy="342930"/>
          </a:xfrm>
          <a:prstGeom prst="rect">
            <a:avLst/>
          </a:prstGeom>
        </p:spPr>
      </p:pic>
      <p:pic>
        <p:nvPicPr>
          <p:cNvPr id="20" name="Picture 22" descr="https://azcscxpprodcdn.azureedge.net/-/media/Images/Nordson/adhesive-dispensing-systems/Products/Applicators-Guns/MiniBlueII.jpg?h=200&amp;w=250&amp;la=fr-FR&amp;hash=CB6AA947B7444A47C8D18B783104C5A1">
            <a:extLst>
              <a:ext uri="{FF2B5EF4-FFF2-40B4-BE49-F238E27FC236}">
                <a16:creationId xmlns:a16="http://schemas.microsoft.com/office/drawing/2014/main" id="{8FC877AC-7212-45D5-B853-6EEB0EBAC3A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208" t="8415" r="27423" b="9953"/>
          <a:stretch/>
        </p:blipFill>
        <p:spPr bwMode="auto">
          <a:xfrm>
            <a:off x="7223443" y="3584543"/>
            <a:ext cx="1417320" cy="20860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Image 27">
            <a:extLst>
              <a:ext uri="{FF2B5EF4-FFF2-40B4-BE49-F238E27FC236}">
                <a16:creationId xmlns:a16="http://schemas.microsoft.com/office/drawing/2014/main" id="{8B45F60F-35D5-4916-AC9B-3D9887FC16B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8393" y="32314"/>
            <a:ext cx="785607" cy="790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50884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">
            <a:extLst>
              <a:ext uri="{FF2B5EF4-FFF2-40B4-BE49-F238E27FC236}">
                <a16:creationId xmlns:a16="http://schemas.microsoft.com/office/drawing/2014/main" id="{18810615-CB09-4624-BB44-29963EF48C41}"/>
              </a:ext>
            </a:extLst>
          </p:cNvPr>
          <p:cNvGrpSpPr>
            <a:grpSpLocks/>
          </p:cNvGrpSpPr>
          <p:nvPr/>
        </p:nvGrpSpPr>
        <p:grpSpPr bwMode="auto">
          <a:xfrm>
            <a:off x="654050" y="1779588"/>
            <a:ext cx="7991475" cy="4055155"/>
            <a:chOff x="647700" y="1908175"/>
            <a:chExt cx="7991475" cy="3938588"/>
          </a:xfrm>
        </p:grpSpPr>
        <p:sp>
          <p:nvSpPr>
            <p:cNvPr id="18" name="Rechteck 3">
              <a:extLst>
                <a:ext uri="{FF2B5EF4-FFF2-40B4-BE49-F238E27FC236}">
                  <a16:creationId xmlns:a16="http://schemas.microsoft.com/office/drawing/2014/main" id="{F9ABA048-420E-442E-AD02-583F115EB91D}"/>
                </a:ext>
              </a:extLst>
            </p:cNvPr>
            <p:cNvSpPr/>
            <p:nvPr/>
          </p:nvSpPr>
          <p:spPr>
            <a:xfrm>
              <a:off x="647700" y="1908175"/>
              <a:ext cx="3889375" cy="40005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es-ES" sz="1400" b="1" dirty="0">
                  <a:solidFill>
                    <a:srgbClr val="FFFFFF"/>
                  </a:solidFill>
                  <a:ea typeface="MS PGothic" pitchFamily="34" charset="-128"/>
                </a:rPr>
                <a:t>VALOR Y VENTAJAS</a:t>
              </a:r>
            </a:p>
          </p:txBody>
        </p:sp>
        <p:sp>
          <p:nvSpPr>
            <p:cNvPr id="19" name="Rechteck 4">
              <a:extLst>
                <a:ext uri="{FF2B5EF4-FFF2-40B4-BE49-F238E27FC236}">
                  <a16:creationId xmlns:a16="http://schemas.microsoft.com/office/drawing/2014/main" id="{8B9EC654-D84D-4520-BD14-95292BA95FD6}"/>
                </a:ext>
              </a:extLst>
            </p:cNvPr>
            <p:cNvSpPr>
              <a:spLocks/>
            </p:cNvSpPr>
            <p:nvPr/>
          </p:nvSpPr>
          <p:spPr>
            <a:xfrm>
              <a:off x="647700" y="2308225"/>
              <a:ext cx="3889375" cy="353853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indent="-182563" eaLnBrk="1" hangingPunct="1">
                <a:spcBef>
                  <a:spcPct val="45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x-none" sz="1050" dirty="0">
                <a:solidFill>
                  <a:srgbClr val="000000"/>
                </a:solidFill>
              </a:endParaRPr>
            </a:p>
          </p:txBody>
        </p:sp>
        <p:sp>
          <p:nvSpPr>
            <p:cNvPr id="20" name="Rechteck 11">
              <a:extLst>
                <a:ext uri="{FF2B5EF4-FFF2-40B4-BE49-F238E27FC236}">
                  <a16:creationId xmlns:a16="http://schemas.microsoft.com/office/drawing/2014/main" id="{8422D032-1389-4567-9C15-BD33DB6122C0}"/>
                </a:ext>
              </a:extLst>
            </p:cNvPr>
            <p:cNvSpPr/>
            <p:nvPr/>
          </p:nvSpPr>
          <p:spPr>
            <a:xfrm>
              <a:off x="4749800" y="1908175"/>
              <a:ext cx="3889375" cy="40005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lvl="0" indent="-190500" fontAlgn="base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es-ES" sz="1400" b="1" noProof="1">
                  <a:solidFill>
                    <a:srgbClr val="FFFFFF"/>
                  </a:solidFill>
                  <a:latin typeface="Arial" charset="0"/>
                  <a:cs typeface="Arial" charset="0"/>
                </a:rPr>
                <a:t>DESCRIPCIÓN</a:t>
              </a:r>
            </a:p>
          </p:txBody>
        </p:sp>
        <p:sp>
          <p:nvSpPr>
            <p:cNvPr id="25" name="Rechteck 12">
              <a:extLst>
                <a:ext uri="{FF2B5EF4-FFF2-40B4-BE49-F238E27FC236}">
                  <a16:creationId xmlns:a16="http://schemas.microsoft.com/office/drawing/2014/main" id="{0E87FA1F-0B1F-4823-A6B3-56BC47247A01}"/>
                </a:ext>
              </a:extLst>
            </p:cNvPr>
            <p:cNvSpPr>
              <a:spLocks/>
            </p:cNvSpPr>
            <p:nvPr/>
          </p:nvSpPr>
          <p:spPr>
            <a:xfrm>
              <a:off x="4749800" y="2305050"/>
              <a:ext cx="3889375" cy="35417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lvl="1" indent="-182563" eaLnBrk="1" hangingPunct="1">
                <a:spcBef>
                  <a:spcPts val="300"/>
                </a:spcBef>
                <a:buClr>
                  <a:srgbClr val="E64B00"/>
                </a:buClr>
                <a:buSzPct val="100000"/>
                <a:buFont typeface="Wingdings" charset="2"/>
                <a:buChar char="§"/>
                <a:tabLst>
                  <a:tab pos="2974975" algn="l"/>
                  <a:tab pos="3151188" algn="l"/>
                </a:tabLst>
                <a:defRPr/>
              </a:pPr>
              <a:endParaRPr lang="en-US" altLang="x-none" sz="1050" dirty="0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8221980" cy="923330"/>
          </a:xfrm>
        </p:spPr>
        <p:txBody>
          <a:bodyPr/>
          <a:lstStyle/>
          <a:p>
            <a:r>
              <a:rPr lang="es-ES" dirty="0"/>
              <a:t>Asegure la calidad de su producto y reduzca el TCO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6112" y="1479548"/>
            <a:ext cx="7997825" cy="307975"/>
          </a:xfrm>
        </p:spPr>
        <p:txBody>
          <a:bodyPr/>
          <a:lstStyle/>
          <a:p>
            <a:r>
              <a:rPr lang="it-IT" dirty="0"/>
              <a:t>Pistola de pegamento Mini-Blue® Pack</a:t>
            </a:r>
            <a:endParaRPr lang="es-ES" dirty="0"/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68447" y="5901302"/>
            <a:ext cx="7978775" cy="431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>
              <a:defRPr/>
            </a:pPr>
            <a:r>
              <a:rPr kumimoji="0" lang="es-E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alor: </a:t>
            </a:r>
            <a:r>
              <a:rPr lang="fr-FR" sz="800" kern="0" dirty="0" err="1"/>
              <a:t>Sostenibilidad</a:t>
            </a:r>
            <a:r>
              <a:rPr lang="es-ES" sz="800" dirty="0">
                <a:solidFill>
                  <a:srgbClr val="000000"/>
                </a:solidFill>
              </a:rPr>
              <a:t>, Optimización de costos, </a:t>
            </a:r>
            <a:r>
              <a:rPr lang="de-CH" altLang="fr-FR" sz="800" dirty="0" err="1">
                <a:solidFill>
                  <a:srgbClr val="000000"/>
                </a:solidFill>
              </a:rPr>
              <a:t>Seguridad</a:t>
            </a:r>
            <a:r>
              <a:rPr lang="de-CH" altLang="fr-FR" sz="800" dirty="0">
                <a:solidFill>
                  <a:srgbClr val="000000"/>
                </a:solidFill>
              </a:rPr>
              <a:t> y </a:t>
            </a:r>
            <a:r>
              <a:rPr lang="de-CH" altLang="fr-FR" sz="800" dirty="0" err="1">
                <a:solidFill>
                  <a:srgbClr val="000000"/>
                </a:solidFill>
              </a:rPr>
              <a:t>ergonomía</a:t>
            </a:r>
            <a:r>
              <a:rPr lang="de-CH" altLang="fr-FR" sz="800" dirty="0">
                <a:solidFill>
                  <a:srgbClr val="000000"/>
                </a:solidFill>
              </a:rPr>
              <a:t>, </a:t>
            </a:r>
            <a:r>
              <a:rPr lang="en-US" sz="800" kern="0" dirty="0">
                <a:solidFill>
                  <a:srgbClr val="000000"/>
                </a:solidFill>
              </a:rPr>
              <a:t>C</a:t>
            </a:r>
            <a:r>
              <a:rPr lang="en-GB" altLang="fr-FR" sz="800" dirty="0" err="1">
                <a:solidFill>
                  <a:srgbClr val="000000"/>
                </a:solidFill>
              </a:rPr>
              <a:t>alidad</a:t>
            </a:r>
            <a:r>
              <a:rPr lang="en-GB" altLang="fr-FR" sz="800" dirty="0">
                <a:solidFill>
                  <a:srgbClr val="000000"/>
                </a:solidFill>
              </a:rPr>
              <a:t> del </a:t>
            </a:r>
            <a:r>
              <a:rPr lang="en-GB" altLang="fr-FR" sz="800" dirty="0" err="1">
                <a:solidFill>
                  <a:srgbClr val="000000"/>
                </a:solidFill>
              </a:rPr>
              <a:t>producto</a:t>
            </a:r>
            <a:r>
              <a:rPr lang="es-ES" sz="800" dirty="0">
                <a:solidFill>
                  <a:srgbClr val="000000"/>
                </a:solidFill>
              </a:rPr>
              <a:t> </a:t>
            </a:r>
            <a:endParaRPr kumimoji="0" lang="es-E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lvl="0">
              <a:defRPr/>
            </a:pPr>
            <a:r>
              <a:rPr kumimoji="0" lang="es-E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o: </a:t>
            </a:r>
            <a:r>
              <a:rPr lang="es-ES" sz="800" kern="0" dirty="0">
                <a:solidFill>
                  <a:srgbClr val="000000"/>
                </a:solidFill>
              </a:rPr>
              <a:t>Todas las máquinas de embalaje están equipadas con pistolas de pegamento </a:t>
            </a:r>
            <a:r>
              <a:rPr lang="es-ES" sz="800" kern="0" dirty="0" err="1">
                <a:solidFill>
                  <a:srgbClr val="000000"/>
                </a:solidFill>
              </a:rPr>
              <a:t>Classic</a:t>
            </a:r>
            <a:r>
              <a:rPr lang="es-ES" sz="800" kern="0" dirty="0">
                <a:solidFill>
                  <a:srgbClr val="000000"/>
                </a:solidFill>
              </a:rPr>
              <a:t> ™ y Solid-Blue®</a:t>
            </a:r>
            <a:endParaRPr kumimoji="0" lang="es-E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ódigo de catálogo: CLC-023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5605" y="2196280"/>
            <a:ext cx="3866263" cy="2656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100" dirty="0">
                <a:solidFill>
                  <a:srgbClr val="000000"/>
                </a:solidFill>
              </a:rPr>
              <a:t>Mayor durabilidad (2 o 3 veces mayor que los otros modelos neumáticos).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100" dirty="0">
                <a:solidFill>
                  <a:srgbClr val="000000"/>
                </a:solidFill>
              </a:rPr>
              <a:t>Pistola más precisa que las pistolas clásicas, lo que significa una reducción del 40% en el consumo de cola.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100" dirty="0">
                <a:solidFill>
                  <a:srgbClr val="000000"/>
                </a:solidFill>
              </a:rPr>
              <a:t>Reducción del 16% en el consumo de energía.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100" dirty="0">
                <a:solidFill>
                  <a:srgbClr val="000000"/>
                </a:solidFill>
              </a:rPr>
              <a:t>Reducción del encordado de adhesivo.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100" dirty="0">
                <a:solidFill>
                  <a:srgbClr val="000000"/>
                </a:solidFill>
              </a:rPr>
              <a:t>Pistola equipada con una carcasa aislante.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100" dirty="0">
                <a:solidFill>
                  <a:srgbClr val="000000"/>
                </a:solidFill>
              </a:rPr>
              <a:t>Reducción del riesgo de quemaduras (80 ° maxi) y pérdidas por radiación.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100" dirty="0">
                <a:solidFill>
                  <a:srgbClr val="000000"/>
                </a:solidFill>
              </a:rPr>
              <a:t>Se puede utilizar con todos los tipos de pegamento termofusible.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100" dirty="0">
                <a:solidFill>
                  <a:srgbClr val="000000"/>
                </a:solidFill>
              </a:rPr>
              <a:t>Conexión en la tubería de corriente.</a:t>
            </a:r>
            <a:endParaRPr kumimoji="0" lang="es-E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6150" y="2197464"/>
            <a:ext cx="3910143" cy="6258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lvl="1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es-ES" sz="1100" dirty="0">
                <a:solidFill>
                  <a:srgbClr val="000000"/>
                </a:solidFill>
              </a:rPr>
              <a:t>Pistola dispensadora compacta de termofusible</a:t>
            </a:r>
          </a:p>
          <a:p>
            <a:pPr marL="136922" lvl="1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es-ES" sz="1100" dirty="0">
                <a:solidFill>
                  <a:srgbClr val="000000"/>
                </a:solidFill>
              </a:rPr>
              <a:t>Las pistolas </a:t>
            </a:r>
            <a:r>
              <a:rPr lang="es-ES" sz="1100" dirty="0" err="1">
                <a:solidFill>
                  <a:srgbClr val="000000"/>
                </a:solidFill>
              </a:rPr>
              <a:t>Mini-blue</a:t>
            </a:r>
            <a:r>
              <a:rPr lang="es-ES" sz="1100" dirty="0">
                <a:solidFill>
                  <a:srgbClr val="000000"/>
                </a:solidFill>
              </a:rPr>
              <a:t>® utilizan las últimas tecnologías neumáticas aplicadas a las pistolas de pegamento</a:t>
            </a:r>
          </a:p>
        </p:txBody>
      </p:sp>
      <p:pic>
        <p:nvPicPr>
          <p:cNvPr id="21" name="Picture 26">
            <a:extLst>
              <a:ext uri="{FF2B5EF4-FFF2-40B4-BE49-F238E27FC236}">
                <a16:creationId xmlns:a16="http://schemas.microsoft.com/office/drawing/2014/main" id="{336F9255-9490-4552-8BE9-A951C368C4E1}"/>
              </a:ext>
            </a:extLst>
          </p:cNvPr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0453" y="3962311"/>
            <a:ext cx="1769427" cy="156679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pic>
      <p:pic>
        <p:nvPicPr>
          <p:cNvPr id="22" name="Image 18">
            <a:extLst>
              <a:ext uri="{FF2B5EF4-FFF2-40B4-BE49-F238E27FC236}">
                <a16:creationId xmlns:a16="http://schemas.microsoft.com/office/drawing/2014/main" id="{8AD05AF8-498D-4D0F-98B1-F5077D62E6E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95254" y="3273745"/>
            <a:ext cx="891617" cy="358171"/>
          </a:xfrm>
          <a:prstGeom prst="rect">
            <a:avLst/>
          </a:prstGeom>
        </p:spPr>
      </p:pic>
      <p:pic>
        <p:nvPicPr>
          <p:cNvPr id="23" name="Image 25">
            <a:extLst>
              <a:ext uri="{FF2B5EF4-FFF2-40B4-BE49-F238E27FC236}">
                <a16:creationId xmlns:a16="http://schemas.microsoft.com/office/drawing/2014/main" id="{87D81EFB-9C66-42E4-894A-82770853233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412567" y="3250855"/>
            <a:ext cx="823031" cy="342930"/>
          </a:xfrm>
          <a:prstGeom prst="rect">
            <a:avLst/>
          </a:prstGeom>
        </p:spPr>
      </p:pic>
      <p:pic>
        <p:nvPicPr>
          <p:cNvPr id="24" name="Picture 22" descr="https://azcscxpprodcdn.azureedge.net/-/media/Images/Nordson/adhesive-dispensing-systems/Products/Applicators-Guns/MiniBlueII.jpg?h=200&amp;w=250&amp;la=fr-FR&amp;hash=CB6AA947B7444A47C8D18B783104C5A1">
            <a:extLst>
              <a:ext uri="{FF2B5EF4-FFF2-40B4-BE49-F238E27FC236}">
                <a16:creationId xmlns:a16="http://schemas.microsoft.com/office/drawing/2014/main" id="{F58A761A-0DF4-4780-896D-1A721055728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208" t="8415" r="27423" b="9953"/>
          <a:stretch/>
        </p:blipFill>
        <p:spPr bwMode="auto">
          <a:xfrm>
            <a:off x="7223443" y="3584543"/>
            <a:ext cx="1417320" cy="20860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Image 27">
            <a:extLst>
              <a:ext uri="{FF2B5EF4-FFF2-40B4-BE49-F238E27FC236}">
                <a16:creationId xmlns:a16="http://schemas.microsoft.com/office/drawing/2014/main" id="{B03CDB63-0F4B-424A-9DAE-423377A3D6D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7009" y="829854"/>
            <a:ext cx="785607" cy="790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45594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">
            <a:extLst>
              <a:ext uri="{FF2B5EF4-FFF2-40B4-BE49-F238E27FC236}">
                <a16:creationId xmlns:a16="http://schemas.microsoft.com/office/drawing/2014/main" id="{2276A5AF-C747-4EC3-B364-999FA2E91008}"/>
              </a:ext>
            </a:extLst>
          </p:cNvPr>
          <p:cNvGrpSpPr>
            <a:grpSpLocks/>
          </p:cNvGrpSpPr>
          <p:nvPr/>
        </p:nvGrpSpPr>
        <p:grpSpPr bwMode="auto">
          <a:xfrm>
            <a:off x="654050" y="1779588"/>
            <a:ext cx="7991475" cy="4055155"/>
            <a:chOff x="647700" y="1908175"/>
            <a:chExt cx="7991475" cy="3938588"/>
          </a:xfrm>
        </p:grpSpPr>
        <p:sp>
          <p:nvSpPr>
            <p:cNvPr id="18" name="Rechteck 3">
              <a:extLst>
                <a:ext uri="{FF2B5EF4-FFF2-40B4-BE49-F238E27FC236}">
                  <a16:creationId xmlns:a16="http://schemas.microsoft.com/office/drawing/2014/main" id="{EE63E47C-A43B-46E1-B2FA-C794E77D3811}"/>
                </a:ext>
              </a:extLst>
            </p:cNvPr>
            <p:cNvSpPr/>
            <p:nvPr/>
          </p:nvSpPr>
          <p:spPr>
            <a:xfrm>
              <a:off x="647700" y="1908175"/>
              <a:ext cx="3889375" cy="40005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pt-BR" sz="1400" b="1" dirty="0">
                  <a:solidFill>
                    <a:srgbClr val="FFFFFF"/>
                  </a:solidFill>
                  <a:ea typeface="MS PGothic" pitchFamily="34" charset="-128"/>
                </a:rPr>
                <a:t>VALOR E VANTAGENS</a:t>
              </a:r>
            </a:p>
          </p:txBody>
        </p:sp>
        <p:sp>
          <p:nvSpPr>
            <p:cNvPr id="19" name="Rechteck 4">
              <a:extLst>
                <a:ext uri="{FF2B5EF4-FFF2-40B4-BE49-F238E27FC236}">
                  <a16:creationId xmlns:a16="http://schemas.microsoft.com/office/drawing/2014/main" id="{E7FDF70D-BF3E-4978-BC3C-012188DDB340}"/>
                </a:ext>
              </a:extLst>
            </p:cNvPr>
            <p:cNvSpPr>
              <a:spLocks/>
            </p:cNvSpPr>
            <p:nvPr/>
          </p:nvSpPr>
          <p:spPr>
            <a:xfrm>
              <a:off x="647700" y="2308225"/>
              <a:ext cx="3889375" cy="353853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indent="-182563" eaLnBrk="1" hangingPunct="1">
                <a:spcBef>
                  <a:spcPct val="45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x-none" sz="1050" dirty="0">
                <a:solidFill>
                  <a:srgbClr val="000000"/>
                </a:solidFill>
              </a:endParaRPr>
            </a:p>
          </p:txBody>
        </p:sp>
        <p:sp>
          <p:nvSpPr>
            <p:cNvPr id="20" name="Rechteck 11">
              <a:extLst>
                <a:ext uri="{FF2B5EF4-FFF2-40B4-BE49-F238E27FC236}">
                  <a16:creationId xmlns:a16="http://schemas.microsoft.com/office/drawing/2014/main" id="{D09741C4-BAD7-43A5-821C-E0662ECD5612}"/>
                </a:ext>
              </a:extLst>
            </p:cNvPr>
            <p:cNvSpPr/>
            <p:nvPr/>
          </p:nvSpPr>
          <p:spPr>
            <a:xfrm>
              <a:off x="4749800" y="1908175"/>
              <a:ext cx="3889375" cy="40005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lvl="0" indent="-190500" fontAlgn="base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pt-BR" sz="1400" b="1" noProof="1">
                  <a:solidFill>
                    <a:srgbClr val="FFFFFF"/>
                  </a:solidFill>
                  <a:latin typeface="Arial" charset="0"/>
                  <a:cs typeface="Arial" charset="0"/>
                </a:rPr>
                <a:t>DESCRIÇÃO</a:t>
              </a:r>
            </a:p>
          </p:txBody>
        </p:sp>
        <p:sp>
          <p:nvSpPr>
            <p:cNvPr id="25" name="Rechteck 12">
              <a:extLst>
                <a:ext uri="{FF2B5EF4-FFF2-40B4-BE49-F238E27FC236}">
                  <a16:creationId xmlns:a16="http://schemas.microsoft.com/office/drawing/2014/main" id="{3F432223-CD75-4CE3-9E88-C5973A30107A}"/>
                </a:ext>
              </a:extLst>
            </p:cNvPr>
            <p:cNvSpPr>
              <a:spLocks/>
            </p:cNvSpPr>
            <p:nvPr/>
          </p:nvSpPr>
          <p:spPr>
            <a:xfrm>
              <a:off x="4749800" y="2305050"/>
              <a:ext cx="3889375" cy="35417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lvl="1" indent="-182563" eaLnBrk="1" hangingPunct="1">
                <a:spcBef>
                  <a:spcPts val="300"/>
                </a:spcBef>
                <a:buClr>
                  <a:srgbClr val="E64B00"/>
                </a:buClr>
                <a:buSzPct val="100000"/>
                <a:buFont typeface="Wingdings" charset="2"/>
                <a:buChar char="§"/>
                <a:tabLst>
                  <a:tab pos="2974975" algn="l"/>
                  <a:tab pos="3151188" algn="l"/>
                </a:tabLst>
                <a:defRPr/>
              </a:pPr>
              <a:endParaRPr lang="en-US" altLang="x-none" sz="1050" dirty="0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8119110" cy="923330"/>
          </a:xfrm>
        </p:spPr>
        <p:txBody>
          <a:bodyPr/>
          <a:lstStyle/>
          <a:p>
            <a:r>
              <a:rPr lang="pt-BR" dirty="0"/>
              <a:t>Proteja a qualidade do seu produto e reduza o TCO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62130"/>
            <a:ext cx="7997825" cy="307975"/>
          </a:xfrm>
        </p:spPr>
        <p:txBody>
          <a:bodyPr/>
          <a:lstStyle/>
          <a:p>
            <a:r>
              <a:rPr lang="it-IT" dirty="0"/>
              <a:t>Pistola de cola Mini-Blue® Pack</a:t>
            </a:r>
            <a:endParaRPr lang="pt-BR" dirty="0"/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68447" y="5901302"/>
            <a:ext cx="7978775" cy="431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>
              <a:defRPr/>
            </a:pPr>
            <a:r>
              <a:rPr kumimoji="0" lang="pt-B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alor: </a:t>
            </a:r>
            <a:r>
              <a:rPr lang="pt-BR" sz="800" kern="0" dirty="0"/>
              <a:t>Sustentabilidade</a:t>
            </a:r>
            <a:r>
              <a:rPr lang="pt-BR" sz="800" dirty="0">
                <a:solidFill>
                  <a:srgbClr val="000000"/>
                </a:solidFill>
              </a:rPr>
              <a:t>, O</a:t>
            </a:r>
            <a:r>
              <a:rPr lang="en-US" sz="800" dirty="0" err="1">
                <a:solidFill>
                  <a:srgbClr val="000000"/>
                </a:solidFill>
              </a:rPr>
              <a:t>timização</a:t>
            </a:r>
            <a:r>
              <a:rPr lang="en-US" sz="800" dirty="0">
                <a:solidFill>
                  <a:srgbClr val="000000"/>
                </a:solidFill>
              </a:rPr>
              <a:t> de custos, </a:t>
            </a:r>
            <a:r>
              <a:rPr lang="pt-BR" sz="800" dirty="0">
                <a:solidFill>
                  <a:srgbClr val="000000"/>
                </a:solidFill>
              </a:rPr>
              <a:t>Segurança e Ergonomia, </a:t>
            </a:r>
            <a:r>
              <a:rPr lang="en-GB" altLang="fr-FR" sz="800" dirty="0" err="1">
                <a:solidFill>
                  <a:srgbClr val="000000"/>
                </a:solidFill>
              </a:rPr>
              <a:t>Qualidade</a:t>
            </a:r>
            <a:r>
              <a:rPr lang="en-GB" altLang="fr-FR" sz="800" dirty="0">
                <a:solidFill>
                  <a:srgbClr val="000000"/>
                </a:solidFill>
              </a:rPr>
              <a:t> do </a:t>
            </a:r>
            <a:r>
              <a:rPr lang="en-GB" altLang="fr-FR" sz="800" dirty="0" err="1">
                <a:solidFill>
                  <a:srgbClr val="000000"/>
                </a:solidFill>
              </a:rPr>
              <a:t>produto</a:t>
            </a:r>
            <a:endParaRPr kumimoji="0" lang="pt-B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lvl="0">
              <a:defRPr/>
            </a:pPr>
            <a:r>
              <a:rPr kumimoji="0" lang="pt-B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amento: </a:t>
            </a:r>
            <a:r>
              <a:rPr lang="pt-BR" sz="800" kern="0" dirty="0">
                <a:solidFill>
                  <a:srgbClr val="000000"/>
                </a:solidFill>
              </a:rPr>
              <a:t>Todas as máquinas de embalagem equipadas com pistolas de cola Classic ™ e Solid-Blue®</a:t>
            </a:r>
            <a:endParaRPr kumimoji="0" lang="pt-B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lvl="0">
              <a:defRPr/>
            </a:pPr>
            <a:r>
              <a:rPr lang="en-US" sz="800" kern="0" noProof="1">
                <a:solidFill>
                  <a:srgbClr val="000000"/>
                </a:solidFill>
                <a:latin typeface="Arial"/>
              </a:rPr>
              <a:t>Catálogo código </a:t>
            </a:r>
            <a:r>
              <a:rPr kumimoji="0" lang="pt-B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: CLC-023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8447" y="2181995"/>
            <a:ext cx="3920515" cy="24876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Maior durabilidade (2 ou 3 vezes maior que os outros modelos pneumáticos).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Pistola mais precisa que as pistolas clássicas, o que significa uma redução de 40% no consumo de cola.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Redução de 16% no consumo de energia.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Amarração adesiva reduzida.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Pistola equipada com uma cápsula isolante.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Redução dos riscos de queima (80 ° maxi) e perda por radiação.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Pode ser usado com todos os tipos de cola termofusível.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Conexão no tubo atual.</a:t>
            </a:r>
            <a:endParaRPr lang="pt-BR" sz="1100" spc="-40" dirty="0">
              <a:solidFill>
                <a:srgbClr val="000000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1388" y="2199168"/>
            <a:ext cx="3910143" cy="6258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lvl="1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pt-BR" sz="1100" dirty="0">
                <a:solidFill>
                  <a:srgbClr val="000000"/>
                </a:solidFill>
              </a:rPr>
              <a:t>Pistola distribuidora de hot melt compacta</a:t>
            </a:r>
          </a:p>
          <a:p>
            <a:pPr marL="136922" lvl="1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pt-BR" sz="1100" dirty="0">
                <a:solidFill>
                  <a:srgbClr val="000000"/>
                </a:solidFill>
              </a:rPr>
              <a:t>As pistolas Mini-blue® utilizam as mais recentes tecnologias pneumáticas aplicadas às pistolas de cola.</a:t>
            </a:r>
          </a:p>
        </p:txBody>
      </p:sp>
      <p:pic>
        <p:nvPicPr>
          <p:cNvPr id="21" name="Picture 26">
            <a:extLst>
              <a:ext uri="{FF2B5EF4-FFF2-40B4-BE49-F238E27FC236}">
                <a16:creationId xmlns:a16="http://schemas.microsoft.com/office/drawing/2014/main" id="{51E6C7B7-3C9E-4EF2-80FC-B9D608517768}"/>
              </a:ext>
            </a:extLst>
          </p:cNvPr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0453" y="3962311"/>
            <a:ext cx="1769427" cy="156679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pic>
      <p:pic>
        <p:nvPicPr>
          <p:cNvPr id="22" name="Image 18">
            <a:extLst>
              <a:ext uri="{FF2B5EF4-FFF2-40B4-BE49-F238E27FC236}">
                <a16:creationId xmlns:a16="http://schemas.microsoft.com/office/drawing/2014/main" id="{13FBCCD0-452C-401C-99B9-B573B451D9A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95254" y="3273745"/>
            <a:ext cx="891617" cy="358171"/>
          </a:xfrm>
          <a:prstGeom prst="rect">
            <a:avLst/>
          </a:prstGeom>
        </p:spPr>
      </p:pic>
      <p:pic>
        <p:nvPicPr>
          <p:cNvPr id="23" name="Image 25">
            <a:extLst>
              <a:ext uri="{FF2B5EF4-FFF2-40B4-BE49-F238E27FC236}">
                <a16:creationId xmlns:a16="http://schemas.microsoft.com/office/drawing/2014/main" id="{220F3558-5011-42F3-8B0C-C60F70B0D09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412567" y="3250855"/>
            <a:ext cx="823031" cy="342930"/>
          </a:xfrm>
          <a:prstGeom prst="rect">
            <a:avLst/>
          </a:prstGeom>
        </p:spPr>
      </p:pic>
      <p:pic>
        <p:nvPicPr>
          <p:cNvPr id="24" name="Picture 22" descr="https://azcscxpprodcdn.azureedge.net/-/media/Images/Nordson/adhesive-dispensing-systems/Products/Applicators-Guns/MiniBlueII.jpg?h=200&amp;w=250&amp;la=fr-FR&amp;hash=CB6AA947B7444A47C8D18B783104C5A1">
            <a:extLst>
              <a:ext uri="{FF2B5EF4-FFF2-40B4-BE49-F238E27FC236}">
                <a16:creationId xmlns:a16="http://schemas.microsoft.com/office/drawing/2014/main" id="{D5C6619C-1067-4AFB-9726-F86A5C4C62A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208" t="8415" r="27423" b="9953"/>
          <a:stretch/>
        </p:blipFill>
        <p:spPr bwMode="auto">
          <a:xfrm>
            <a:off x="7223443" y="3584543"/>
            <a:ext cx="1417320" cy="20860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Image 27">
            <a:extLst>
              <a:ext uri="{FF2B5EF4-FFF2-40B4-BE49-F238E27FC236}">
                <a16:creationId xmlns:a16="http://schemas.microsoft.com/office/drawing/2014/main" id="{E8B21D77-0430-493D-8404-BB328065D68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7009" y="829854"/>
            <a:ext cx="785607" cy="790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97411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3"/>
          <p:cNvSpPr/>
          <p:nvPr/>
        </p:nvSpPr>
        <p:spPr bwMode="auto">
          <a:xfrm>
            <a:off x="643845" y="1727803"/>
            <a:ext cx="3889375" cy="376238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kumimoji="0" lang="de-DE" sz="1400" b="1" i="0" u="none" strike="noStrike" cap="none" normalizeH="0" baseline="0" noProof="0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/>
                <a:ea typeface="MS PGothic" pitchFamily="34" charset="-128"/>
                <a:cs typeface="+mn-cs"/>
              </a:rPr>
              <a:t>NUTZEN UND VORTEILE</a:t>
            </a:r>
          </a:p>
        </p:txBody>
      </p:sp>
      <p:sp>
        <p:nvSpPr>
          <p:cNvPr id="22" name="Rechteck 4"/>
          <p:cNvSpPr>
            <a:spLocks/>
          </p:cNvSpPr>
          <p:nvPr/>
        </p:nvSpPr>
        <p:spPr bwMode="auto">
          <a:xfrm>
            <a:off x="643845" y="2104040"/>
            <a:ext cx="3889375" cy="366553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Rechteck 11"/>
          <p:cNvSpPr/>
          <p:nvPr/>
        </p:nvSpPr>
        <p:spPr bwMode="auto">
          <a:xfrm>
            <a:off x="4745945" y="1727802"/>
            <a:ext cx="3889375" cy="38893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DE" sz="1400" b="1" i="0" u="none" strike="noStrike" cap="none" normalizeH="0" baseline="0" noProof="1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 charset="0"/>
                <a:ea typeface="+mn-ea"/>
                <a:cs typeface="Arial" charset="0"/>
              </a:rPr>
              <a:t>BESCHREIBUNG</a:t>
            </a:r>
          </a:p>
        </p:txBody>
      </p:sp>
      <p:sp>
        <p:nvSpPr>
          <p:cNvPr id="24" name="Rechteck 12"/>
          <p:cNvSpPr>
            <a:spLocks/>
          </p:cNvSpPr>
          <p:nvPr/>
        </p:nvSpPr>
        <p:spPr bwMode="auto">
          <a:xfrm>
            <a:off x="4745945" y="2095413"/>
            <a:ext cx="3889375" cy="365283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宋体" charset="-122"/>
              <a:cs typeface="+mn-cs"/>
            </a:endParaRPr>
          </a:p>
        </p:txBody>
      </p: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923330"/>
          </a:xfrm>
        </p:spPr>
        <p:txBody>
          <a:bodyPr/>
          <a:lstStyle/>
          <a:p>
            <a:r>
              <a:rPr lang="de-DE" dirty="0"/>
              <a:t>Sichern Sie Ihre Produktqualität und reduzieren Sie die Gesamtbetriebskosten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2257" y="1419826"/>
            <a:ext cx="7997825" cy="307975"/>
          </a:xfrm>
        </p:spPr>
        <p:txBody>
          <a:bodyPr/>
          <a:lstStyle/>
          <a:p>
            <a:r>
              <a:rPr lang="de-DE" dirty="0"/>
              <a:t>Mini-Blue® Pack Klebepistole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47700" y="5847290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de-DE" sz="800" dirty="0">
                <a:solidFill>
                  <a:srgbClr val="000000"/>
                </a:solidFill>
              </a:rPr>
              <a:t>Nutzen: </a:t>
            </a:r>
            <a:r>
              <a:rPr lang="en-US" sz="800" kern="0" dirty="0" err="1"/>
              <a:t>Nachhaltigkeit</a:t>
            </a:r>
            <a:r>
              <a:rPr lang="en-US" sz="800" dirty="0">
                <a:solidFill>
                  <a:srgbClr val="000000"/>
                </a:solidFill>
              </a:rPr>
              <a:t>, </a:t>
            </a:r>
            <a:r>
              <a:rPr lang="en-US" sz="800" dirty="0" err="1">
                <a:solidFill>
                  <a:srgbClr val="000000"/>
                </a:solidFill>
              </a:rPr>
              <a:t>Kostenoptimierung</a:t>
            </a:r>
            <a:r>
              <a:rPr lang="en-US" sz="800" dirty="0">
                <a:solidFill>
                  <a:srgbClr val="000000"/>
                </a:solidFill>
              </a:rPr>
              <a:t>, </a:t>
            </a:r>
            <a:r>
              <a:rPr lang="de-DE" sz="800" dirty="0">
                <a:solidFill>
                  <a:srgbClr val="000000"/>
                </a:solidFill>
              </a:rPr>
              <a:t>Sicherheit und Ergonomie, </a:t>
            </a:r>
            <a:r>
              <a:rPr lang="en-GB" altLang="fr-FR" sz="800" dirty="0" err="1">
                <a:solidFill>
                  <a:srgbClr val="000000"/>
                </a:solidFill>
              </a:rPr>
              <a:t>Produktqualität</a:t>
            </a:r>
            <a:endParaRPr lang="de-DE" sz="800" dirty="0">
              <a:solidFill>
                <a:srgbClr val="000000"/>
              </a:solidFill>
            </a:endParaRPr>
          </a:p>
          <a:p>
            <a:pPr>
              <a:defRPr/>
            </a:pPr>
            <a:r>
              <a:rPr lang="de-DE" sz="800" dirty="0">
                <a:solidFill>
                  <a:srgbClr val="000000"/>
                </a:solidFill>
              </a:rPr>
              <a:t>Ausstattung: Alle Verpackungsmaschinen mit Classic™ und Solid-Blue® Klebepistolen</a:t>
            </a:r>
          </a:p>
          <a:p>
            <a:pPr>
              <a:defRPr/>
            </a:pPr>
            <a:r>
              <a:rPr lang="de-DE" sz="800" dirty="0">
                <a:solidFill>
                  <a:srgbClr val="000000"/>
                </a:solidFill>
              </a:rPr>
              <a:t>Katalog-Code: CLC-023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3004" y="2104039"/>
            <a:ext cx="3866263" cy="24876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100" dirty="0">
                <a:solidFill>
                  <a:srgbClr val="000000"/>
                </a:solidFill>
              </a:rPr>
              <a:t>Längere Haltbarkeit (2- oder 3-mal höher als bei den anderen pneumatischen Modellen)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100" dirty="0">
                <a:solidFill>
                  <a:srgbClr val="000000"/>
                </a:solidFill>
              </a:rPr>
              <a:t>Pistole präziser als die klassischen Pistolen, was eine Reduzierung des Leimverbrauchs um 40% bedeutet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100" dirty="0">
                <a:solidFill>
                  <a:srgbClr val="000000"/>
                </a:solidFill>
              </a:rPr>
              <a:t>Reduzierung des Stromverbrauchs um 16%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100" dirty="0">
                <a:solidFill>
                  <a:srgbClr val="000000"/>
                </a:solidFill>
              </a:rPr>
              <a:t>Reduzierte Klebefäden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100" dirty="0">
                <a:solidFill>
                  <a:srgbClr val="000000"/>
                </a:solidFill>
              </a:rPr>
              <a:t>Pistole mit isolierender Hülle ausgestattet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100" dirty="0">
                <a:solidFill>
                  <a:srgbClr val="000000"/>
                </a:solidFill>
              </a:rPr>
              <a:t>Reduzierung der Verbrennungsgefahr (80° maxi) und des Verlustes durch Strahlung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100" dirty="0">
                <a:solidFill>
                  <a:srgbClr val="000000"/>
                </a:solidFill>
              </a:rPr>
              <a:t>Verwendbar mit allen Heißklebertypen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100" dirty="0">
                <a:solidFill>
                  <a:srgbClr val="000000"/>
                </a:solidFill>
              </a:rPr>
              <a:t>Anschluss am Stromrohr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45945" y="2116741"/>
            <a:ext cx="3910143" cy="7950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lvl="1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de-DE" sz="1100" dirty="0">
                <a:solidFill>
                  <a:srgbClr val="000000"/>
                </a:solidFill>
              </a:rPr>
              <a:t>Kompakte Heißleim-Dosierpistole</a:t>
            </a:r>
          </a:p>
          <a:p>
            <a:pPr marL="136922" lvl="1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de-DE" sz="1100" dirty="0">
                <a:solidFill>
                  <a:srgbClr val="000000"/>
                </a:solidFill>
              </a:rPr>
              <a:t>Die Mini-</a:t>
            </a:r>
            <a:r>
              <a:rPr lang="de-DE" sz="1100" dirty="0" err="1">
                <a:solidFill>
                  <a:srgbClr val="000000"/>
                </a:solidFill>
              </a:rPr>
              <a:t>blue</a:t>
            </a:r>
            <a:r>
              <a:rPr lang="de-DE" sz="1100" dirty="0">
                <a:solidFill>
                  <a:srgbClr val="000000"/>
                </a:solidFill>
              </a:rPr>
              <a:t>®-Pistolen verwenden die neuesten pneumatischen Technologien, die auf Klebepistolen angewendet werden.</a:t>
            </a:r>
            <a:endParaRPr lang="es-ES" sz="1100" dirty="0">
              <a:solidFill>
                <a:srgbClr val="000000"/>
              </a:solidFill>
            </a:endParaRPr>
          </a:p>
        </p:txBody>
      </p:sp>
      <p:pic>
        <p:nvPicPr>
          <p:cNvPr id="16" name="Picture 26">
            <a:extLst>
              <a:ext uri="{FF2B5EF4-FFF2-40B4-BE49-F238E27FC236}">
                <a16:creationId xmlns:a16="http://schemas.microsoft.com/office/drawing/2014/main" id="{073CF917-282B-42F9-9E7D-1BBD311825B2}"/>
              </a:ext>
            </a:extLst>
          </p:cNvPr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0453" y="3962311"/>
            <a:ext cx="1769427" cy="156679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pic>
      <p:pic>
        <p:nvPicPr>
          <p:cNvPr id="17" name="Image 18">
            <a:extLst>
              <a:ext uri="{FF2B5EF4-FFF2-40B4-BE49-F238E27FC236}">
                <a16:creationId xmlns:a16="http://schemas.microsoft.com/office/drawing/2014/main" id="{A8B56F9B-B3B9-416A-B4D0-E7A4B370437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95254" y="3273745"/>
            <a:ext cx="891617" cy="358171"/>
          </a:xfrm>
          <a:prstGeom prst="rect">
            <a:avLst/>
          </a:prstGeom>
        </p:spPr>
      </p:pic>
      <p:pic>
        <p:nvPicPr>
          <p:cNvPr id="18" name="Image 25">
            <a:extLst>
              <a:ext uri="{FF2B5EF4-FFF2-40B4-BE49-F238E27FC236}">
                <a16:creationId xmlns:a16="http://schemas.microsoft.com/office/drawing/2014/main" id="{13FEEB41-DB42-45DC-88A6-C55C808F31B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412567" y="3250855"/>
            <a:ext cx="823031" cy="342930"/>
          </a:xfrm>
          <a:prstGeom prst="rect">
            <a:avLst/>
          </a:prstGeom>
        </p:spPr>
      </p:pic>
      <p:pic>
        <p:nvPicPr>
          <p:cNvPr id="19" name="Picture 22" descr="https://azcscxpprodcdn.azureedge.net/-/media/Images/Nordson/adhesive-dispensing-systems/Products/Applicators-Guns/MiniBlueII.jpg?h=200&amp;w=250&amp;la=fr-FR&amp;hash=CB6AA947B7444A47C8D18B783104C5A1">
            <a:extLst>
              <a:ext uri="{FF2B5EF4-FFF2-40B4-BE49-F238E27FC236}">
                <a16:creationId xmlns:a16="http://schemas.microsoft.com/office/drawing/2014/main" id="{ED0E35BA-B282-4268-92EE-506211C9F79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208" t="8415" r="27423" b="9953"/>
          <a:stretch/>
        </p:blipFill>
        <p:spPr bwMode="auto">
          <a:xfrm>
            <a:off x="7223443" y="3584543"/>
            <a:ext cx="1417320" cy="20860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Image 27">
            <a:extLst>
              <a:ext uri="{FF2B5EF4-FFF2-40B4-BE49-F238E27FC236}">
                <a16:creationId xmlns:a16="http://schemas.microsoft.com/office/drawing/2014/main" id="{92F2E361-1807-4CB1-9F09-56EA0918776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8393" y="6419"/>
            <a:ext cx="785607" cy="790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35061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3"/>
          <p:cNvSpPr/>
          <p:nvPr/>
        </p:nvSpPr>
        <p:spPr bwMode="auto">
          <a:xfrm>
            <a:off x="649288" y="1770107"/>
            <a:ext cx="3889375" cy="376238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kumimoji="0" lang="zh-CN" altLang="fr-FR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FZZhunYuan-M02S" pitchFamily="34" charset="-128"/>
                <a:cs typeface="+mn-cs"/>
              </a:rPr>
              <a:t>价值和益处</a:t>
            </a:r>
          </a:p>
        </p:txBody>
      </p:sp>
      <p:sp>
        <p:nvSpPr>
          <p:cNvPr id="22" name="Rechteck 4"/>
          <p:cNvSpPr>
            <a:spLocks/>
          </p:cNvSpPr>
          <p:nvPr/>
        </p:nvSpPr>
        <p:spPr bwMode="auto">
          <a:xfrm>
            <a:off x="649288" y="2146344"/>
            <a:ext cx="3889375" cy="366553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FZZhunYuan-M02S"/>
              <a:cs typeface="+mn-cs"/>
            </a:endParaRPr>
          </a:p>
        </p:txBody>
      </p:sp>
      <p:sp>
        <p:nvSpPr>
          <p:cNvPr id="23" name="Rechteck 11"/>
          <p:cNvSpPr/>
          <p:nvPr/>
        </p:nvSpPr>
        <p:spPr bwMode="auto">
          <a:xfrm>
            <a:off x="4751388" y="1770106"/>
            <a:ext cx="3889375" cy="38893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zh-CN" altLang="fr-FR" sz="140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FZZhunYuan-M02S"/>
                <a:cs typeface="Arial" charset="0"/>
              </a:rPr>
              <a:t>描述</a:t>
            </a:r>
          </a:p>
        </p:txBody>
      </p:sp>
      <p:sp>
        <p:nvSpPr>
          <p:cNvPr id="24" name="Rechteck 12"/>
          <p:cNvSpPr>
            <a:spLocks/>
          </p:cNvSpPr>
          <p:nvPr/>
        </p:nvSpPr>
        <p:spPr bwMode="auto">
          <a:xfrm>
            <a:off x="4751388" y="2146343"/>
            <a:ext cx="3889375" cy="365283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宋体" charset="-122"/>
              <a:cs typeface="+mn-cs"/>
            </a:endParaRPr>
          </a:p>
        </p:txBody>
      </p: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zh-CN" altLang="fr-FR" dirty="0"/>
              <a:t>确保您的产品质量并降低 </a:t>
            </a:r>
            <a:r>
              <a:rPr lang="fr-FR" altLang="zh-CN" dirty="0"/>
              <a:t>TCO</a:t>
            </a:r>
            <a:endParaRPr lang="zh-CN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62130"/>
            <a:ext cx="7997825" cy="307975"/>
          </a:xfrm>
        </p:spPr>
        <p:txBody>
          <a:bodyPr/>
          <a:lstStyle/>
          <a:p>
            <a:r>
              <a:rPr lang="fr-FR" altLang="zh-CN" dirty="0"/>
              <a:t>Mini-Blue® Pack </a:t>
            </a:r>
            <a:r>
              <a:rPr lang="zh-CN" altLang="fr-FR" dirty="0"/>
              <a:t>胶枪</a:t>
            </a:r>
            <a:endParaRPr lang="zh-CN" dirty="0"/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68447" y="5901302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>
              <a:defRPr/>
            </a:pPr>
            <a:r>
              <a:rPr kumimoji="0" lang="zh-CN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+mn-cs"/>
              </a:rPr>
              <a:t>价值：</a:t>
            </a:r>
            <a:r>
              <a:rPr lang="ja-JP" altLang="fr-FR" sz="800" kern="0" dirty="0">
                <a:latin typeface="FZZhunYuan-M02S" panose="03000509000000000000" pitchFamily="65" charset="-122"/>
                <a:ea typeface="FZZhunYuan-M02S" panose="03000509000000000000" pitchFamily="65" charset="-122"/>
                <a:cs typeface="SimSun"/>
              </a:rPr>
              <a:t>可持续发展</a:t>
            </a:r>
            <a:r>
              <a:rPr lang="en-US" sz="800" dirty="0">
                <a:solidFill>
                  <a:srgbClr val="000000"/>
                </a:solidFill>
                <a:latin typeface="方正准圆简体"/>
                <a:cs typeface="方正准圆简体"/>
              </a:rPr>
              <a:t>，</a:t>
            </a:r>
            <a:r>
              <a:rPr lang="ja-JP" altLang="fr-FR" sz="800" dirty="0">
                <a:solidFill>
                  <a:srgbClr val="000000"/>
                </a:solidFill>
                <a:latin typeface="方正准圆简体"/>
                <a:cs typeface="方正准圆简体"/>
              </a:rPr>
              <a:t>成本优化</a:t>
            </a:r>
            <a:r>
              <a:rPr lang="en-US" sz="800" dirty="0">
                <a:solidFill>
                  <a:srgbClr val="000000"/>
                </a:solidFill>
                <a:latin typeface="方正准圆简体"/>
                <a:cs typeface="方正准圆简体"/>
              </a:rPr>
              <a:t>, </a:t>
            </a:r>
            <a:r>
              <a:rPr lang="zh-CN" altLang="fr-FR" sz="800" kern="0" dirty="0">
                <a:solidFill>
                  <a:srgbClr val="000000"/>
                </a:solidFill>
                <a:latin typeface="方正准圆简体"/>
                <a:cs typeface="方正准圆简体"/>
              </a:rPr>
              <a:t>改善安全和人体工学性</a:t>
            </a:r>
            <a:r>
              <a:rPr lang="fr-FR" altLang="zh-CN" sz="800" kern="0" dirty="0">
                <a:solidFill>
                  <a:srgbClr val="000000"/>
                </a:solidFill>
                <a:latin typeface="方正准圆简体"/>
                <a:cs typeface="方正准圆简体"/>
              </a:rPr>
              <a:t>, </a:t>
            </a:r>
            <a:r>
              <a:rPr lang="en-GB" altLang="fr-FR" sz="800" dirty="0" err="1">
                <a:solidFill>
                  <a:srgbClr val="000000"/>
                </a:solidFill>
                <a:latin typeface="方正准圆简体"/>
                <a:cs typeface="方正准圆简体"/>
              </a:rPr>
              <a:t>产品品质</a:t>
            </a:r>
            <a:endParaRPr lang="en-US" sz="800" dirty="0">
              <a:solidFill>
                <a:srgbClr val="000000"/>
              </a:solidFill>
              <a:latin typeface="方正准圆简体"/>
              <a:cs typeface="方正准圆简体"/>
            </a:endParaRPr>
          </a:p>
          <a:p>
            <a:pPr lvl="0">
              <a:defRPr/>
            </a:pPr>
            <a:r>
              <a:rPr kumimoji="0" lang="zh-CN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+mn-cs"/>
              </a:rPr>
              <a:t>设备：</a:t>
            </a:r>
            <a:r>
              <a:rPr lang="en-GB" altLang="fr-FR" sz="800" dirty="0">
                <a:solidFill>
                  <a:srgbClr val="000000"/>
                </a:solidFill>
              </a:rPr>
              <a:t> </a:t>
            </a:r>
            <a:r>
              <a:rPr lang="ja-JP" altLang="fr-FR" sz="800" dirty="0">
                <a:solidFill>
                  <a:srgbClr val="000000"/>
                </a:solidFill>
              </a:rPr>
              <a:t>所有配备 </a:t>
            </a:r>
            <a:r>
              <a:rPr lang="en-GB" altLang="fr-FR" sz="800" dirty="0">
                <a:solidFill>
                  <a:srgbClr val="000000"/>
                </a:solidFill>
              </a:rPr>
              <a:t>Classic™ </a:t>
            </a:r>
            <a:r>
              <a:rPr lang="ja-JP" altLang="fr-FR" sz="800" dirty="0">
                <a:solidFill>
                  <a:srgbClr val="000000"/>
                </a:solidFill>
              </a:rPr>
              <a:t>和 </a:t>
            </a:r>
            <a:r>
              <a:rPr lang="en-GB" altLang="fr-FR" sz="800" dirty="0">
                <a:solidFill>
                  <a:srgbClr val="000000"/>
                </a:solidFill>
              </a:rPr>
              <a:t>Solid-Blue® </a:t>
            </a:r>
            <a:r>
              <a:rPr lang="ja-JP" altLang="fr-FR" sz="800" dirty="0">
                <a:solidFill>
                  <a:srgbClr val="000000"/>
                </a:solidFill>
              </a:rPr>
              <a:t>胶枪的包装机</a:t>
            </a:r>
            <a:endParaRPr kumimoji="0" lang="fr-FR" altLang="zh-CN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FZZhunYuan-M02S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+mn-cs"/>
              </a:rPr>
              <a:t>产品目录代码：</a:t>
            </a:r>
            <a:r>
              <a:rPr kumimoji="0" lang="fr-FR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FZZhunYuan-M02S"/>
                <a:cs typeface="+mn-cs"/>
              </a:rPr>
              <a:t>CLC-023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FZZhunYuan-M02S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1388" y="2199168"/>
            <a:ext cx="3910143" cy="9243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200" dirty="0">
                <a:solidFill>
                  <a:srgbClr val="000000"/>
                </a:solidFill>
              </a:rPr>
              <a:t>Compact hot melt dispensing gun</a:t>
            </a:r>
          </a:p>
          <a:p>
            <a:pPr marL="182563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200" dirty="0">
                <a:solidFill>
                  <a:srgbClr val="000000"/>
                </a:solidFill>
              </a:rPr>
              <a:t>The Mini-blue® guns uses the latest pneumatic technologies applied to glue guns.</a:t>
            </a:r>
          </a:p>
          <a:p>
            <a:pPr marL="479810" lvl="2" indent="-136919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175" algn="l"/>
                <a:tab pos="2363332" algn="l"/>
              </a:tabLst>
              <a:defRPr/>
            </a:pPr>
            <a:endParaRPr lang="en-US" altLang="x-none" sz="1100" dirty="0">
              <a:solidFill>
                <a:srgbClr val="000000"/>
              </a:solidFill>
            </a:endParaRPr>
          </a:p>
        </p:txBody>
      </p:sp>
      <p:pic>
        <p:nvPicPr>
          <p:cNvPr id="16" name="Picture 26">
            <a:extLst>
              <a:ext uri="{FF2B5EF4-FFF2-40B4-BE49-F238E27FC236}">
                <a16:creationId xmlns:a16="http://schemas.microsoft.com/office/drawing/2014/main" id="{5BCA4C31-0445-4B7B-B4F8-58E2D29F4020}"/>
              </a:ext>
            </a:extLst>
          </p:cNvPr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0453" y="3962311"/>
            <a:ext cx="1769427" cy="156679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pic>
      <p:pic>
        <p:nvPicPr>
          <p:cNvPr id="17" name="Image 18">
            <a:extLst>
              <a:ext uri="{FF2B5EF4-FFF2-40B4-BE49-F238E27FC236}">
                <a16:creationId xmlns:a16="http://schemas.microsoft.com/office/drawing/2014/main" id="{243CD6AF-A0AF-4E98-8444-690C120B103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95254" y="3273745"/>
            <a:ext cx="891617" cy="358171"/>
          </a:xfrm>
          <a:prstGeom prst="rect">
            <a:avLst/>
          </a:prstGeom>
        </p:spPr>
      </p:pic>
      <p:pic>
        <p:nvPicPr>
          <p:cNvPr id="18" name="Image 25">
            <a:extLst>
              <a:ext uri="{FF2B5EF4-FFF2-40B4-BE49-F238E27FC236}">
                <a16:creationId xmlns:a16="http://schemas.microsoft.com/office/drawing/2014/main" id="{41DE1EBD-01BD-4923-8CB9-FB5E1DDEF14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412567" y="3250855"/>
            <a:ext cx="823031" cy="342930"/>
          </a:xfrm>
          <a:prstGeom prst="rect">
            <a:avLst/>
          </a:prstGeom>
        </p:spPr>
      </p:pic>
      <p:pic>
        <p:nvPicPr>
          <p:cNvPr id="19" name="Picture 22" descr="https://azcscxpprodcdn.azureedge.net/-/media/Images/Nordson/adhesive-dispensing-systems/Products/Applicators-Guns/MiniBlueII.jpg?h=200&amp;w=250&amp;la=fr-FR&amp;hash=CB6AA947B7444A47C8D18B783104C5A1">
            <a:extLst>
              <a:ext uri="{FF2B5EF4-FFF2-40B4-BE49-F238E27FC236}">
                <a16:creationId xmlns:a16="http://schemas.microsoft.com/office/drawing/2014/main" id="{E0195E98-D2DE-43F6-B51A-787A5E69282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208" t="8415" r="27423" b="9953"/>
          <a:stretch/>
        </p:blipFill>
        <p:spPr bwMode="auto">
          <a:xfrm>
            <a:off x="7223443" y="3584543"/>
            <a:ext cx="1417320" cy="20860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79CA5F4E-3166-44C5-8B67-B6D63DA7AF94}"/>
              </a:ext>
            </a:extLst>
          </p:cNvPr>
          <p:cNvSpPr/>
          <p:nvPr/>
        </p:nvSpPr>
        <p:spPr>
          <a:xfrm>
            <a:off x="648493" y="2159045"/>
            <a:ext cx="3890963" cy="29731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200" dirty="0">
                <a:solidFill>
                  <a:srgbClr val="000000"/>
                </a:solidFill>
              </a:rPr>
              <a:t>Longer durability (2 or 3 times higher than the other pneumatic models)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200" dirty="0">
                <a:solidFill>
                  <a:srgbClr val="000000"/>
                </a:solidFill>
              </a:rPr>
              <a:t>Gun more precise than the classical guns, which means a reduction of 40% in glue consumption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200" dirty="0">
                <a:solidFill>
                  <a:srgbClr val="000000"/>
                </a:solidFill>
              </a:rPr>
              <a:t>Reduction of 16% in the power consumption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200" dirty="0">
                <a:solidFill>
                  <a:srgbClr val="000000"/>
                </a:solidFill>
              </a:rPr>
              <a:t>Reduced adhesive stringing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200" dirty="0">
                <a:solidFill>
                  <a:srgbClr val="000000"/>
                </a:solidFill>
              </a:rPr>
              <a:t>Gun equipped with an insulating shell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200" dirty="0">
                <a:solidFill>
                  <a:srgbClr val="000000"/>
                </a:solidFill>
              </a:rPr>
              <a:t>Reduction in burning risks (80° maxi) and loss through radiation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200" dirty="0">
                <a:solidFill>
                  <a:srgbClr val="000000"/>
                </a:solidFill>
              </a:rPr>
              <a:t>Useable with all hot-melt glue types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200" dirty="0">
                <a:solidFill>
                  <a:srgbClr val="000000"/>
                </a:solidFill>
              </a:rPr>
              <a:t>Connection on the current pipe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5" name="Image 27">
            <a:extLst>
              <a:ext uri="{FF2B5EF4-FFF2-40B4-BE49-F238E27FC236}">
                <a16:creationId xmlns:a16="http://schemas.microsoft.com/office/drawing/2014/main" id="{CF9BAD3D-5E46-49A8-B4A6-8BBB9B48A96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3861" y="46552"/>
            <a:ext cx="785607" cy="790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94874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idel_Template_16x9_SHORT_2019</Template>
  <TotalTime>2919</TotalTime>
  <Words>912</Words>
  <Application>Microsoft Office PowerPoint</Application>
  <PresentationFormat>On-screen Show (4:3)</PresentationFormat>
  <Paragraphs>102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5" baseType="lpstr">
      <vt:lpstr>MS PGothic</vt:lpstr>
      <vt:lpstr>宋体</vt:lpstr>
      <vt:lpstr>宋体</vt:lpstr>
      <vt:lpstr>Arial</vt:lpstr>
      <vt:lpstr>FZZhunYuan-M02S</vt:lpstr>
      <vt:lpstr>Wingdings</vt:lpstr>
      <vt:lpstr>方正准圆简体</vt:lpstr>
      <vt:lpstr>1_NewSidel_Template_4x3_with add layouts</vt:lpstr>
      <vt:lpstr>think-cell Folie</vt:lpstr>
      <vt:lpstr>Secure your product quality and reduce TCO</vt:lpstr>
      <vt:lpstr>Sécurisez la qualité de vos produits et réduisez le TCO</vt:lpstr>
      <vt:lpstr>Asegure la calidad de su producto y reduzca el TCO</vt:lpstr>
      <vt:lpstr>Proteja a qualidade do seu produto e reduza o TCO</vt:lpstr>
      <vt:lpstr>Sichern Sie Ihre Produktqualität und reduzieren Sie die Gesamtbetriebskosten</vt:lpstr>
      <vt:lpstr>确保您的产品质量并降低 TCO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&amp;C Commercial Price</dc:title>
  <dc:creator>Luca.Moschini@sidel.com</dc:creator>
  <cp:lastModifiedBy>Sorega, Dan</cp:lastModifiedBy>
  <cp:revision>293</cp:revision>
  <dcterms:created xsi:type="dcterms:W3CDTF">2019-02-20T10:39:16Z</dcterms:created>
  <dcterms:modified xsi:type="dcterms:W3CDTF">2021-06-09T13:09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etDate">
    <vt:lpwstr>2021-06-09T13:09:14Z</vt:lpwstr>
  </property>
  <property fmtid="{D5CDD505-2E9C-101B-9397-08002B2CF9AE}" pid="6" name="MSIP_Label_94480757-a570-4f64-84e7-c5b3ffe9d573_Method">
    <vt:lpwstr>Standard</vt:lpwstr>
  </property>
  <property fmtid="{D5CDD505-2E9C-101B-9397-08002B2CF9AE}" pid="7" name="MSIP_Label_94480757-a570-4f64-84e7-c5b3ffe9d573_Name">
    <vt:lpwstr>General</vt:lpwstr>
  </property>
  <property fmtid="{D5CDD505-2E9C-101B-9397-08002B2CF9AE}" pid="8" name="MSIP_Label_94480757-a570-4f64-84e7-c5b3ffe9d573_SiteId">
    <vt:lpwstr>2390cbd1-e663-4321-bc93-ba298637ce52</vt:lpwstr>
  </property>
  <property fmtid="{D5CDD505-2E9C-101B-9397-08002B2CF9AE}" pid="9" name="MSIP_Label_94480757-a570-4f64-84e7-c5b3ffe9d573_ActionId">
    <vt:lpwstr/>
  </property>
  <property fmtid="{D5CDD505-2E9C-101B-9397-08002B2CF9AE}" pid="10" name="MSIP_Label_94480757-a570-4f64-84e7-c5b3ffe9d573_ContentBits">
    <vt:lpwstr>2</vt:lpwstr>
  </property>
</Properties>
</file>